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bmp" ContentType="image/bmp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ags/tag3.xml" ContentType="application/vnd.openxmlformats-officedocument.presentationml.tags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0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1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charts/chart1.xml" ContentType="application/vnd.openxmlformats-officedocument.drawingml.chart+xml"/>
  <Override PartName="/ppt/notesSlides/notesSlide2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3672" r:id="rId2"/>
    <p:sldMasterId id="2147483867" r:id="rId3"/>
    <p:sldMasterId id="2147483894" r:id="rId4"/>
    <p:sldMasterId id="2147483955" r:id="rId5"/>
    <p:sldMasterId id="2147484107" r:id="rId6"/>
    <p:sldMasterId id="2147484146" r:id="rId7"/>
    <p:sldMasterId id="2147484216" r:id="rId8"/>
    <p:sldMasterId id="2147484277" r:id="rId9"/>
    <p:sldMasterId id="2147484516" r:id="rId10"/>
    <p:sldMasterId id="2147484529" r:id="rId11"/>
    <p:sldMasterId id="2147484578" r:id="rId12"/>
  </p:sldMasterIdLst>
  <p:notesMasterIdLst>
    <p:notesMasterId r:id="rId59"/>
  </p:notesMasterIdLst>
  <p:handoutMasterIdLst>
    <p:handoutMasterId r:id="rId60"/>
  </p:handoutMasterIdLst>
  <p:sldIdLst>
    <p:sldId id="468" r:id="rId13"/>
    <p:sldId id="635" r:id="rId14"/>
    <p:sldId id="823" r:id="rId15"/>
    <p:sldId id="719" r:id="rId16"/>
    <p:sldId id="737" r:id="rId17"/>
    <p:sldId id="720" r:id="rId18"/>
    <p:sldId id="763" r:id="rId19"/>
    <p:sldId id="875" r:id="rId20"/>
    <p:sldId id="851" r:id="rId21"/>
    <p:sldId id="905" r:id="rId22"/>
    <p:sldId id="915" r:id="rId23"/>
    <p:sldId id="906" r:id="rId24"/>
    <p:sldId id="917" r:id="rId25"/>
    <p:sldId id="926" r:id="rId26"/>
    <p:sldId id="927" r:id="rId27"/>
    <p:sldId id="928" r:id="rId28"/>
    <p:sldId id="921" r:id="rId29"/>
    <p:sldId id="922" r:id="rId30"/>
    <p:sldId id="923" r:id="rId31"/>
    <p:sldId id="924" r:id="rId32"/>
    <p:sldId id="885" r:id="rId33"/>
    <p:sldId id="889" r:id="rId34"/>
    <p:sldId id="895" r:id="rId35"/>
    <p:sldId id="725" r:id="rId36"/>
    <p:sldId id="726" r:id="rId37"/>
    <p:sldId id="727" r:id="rId38"/>
    <p:sldId id="728" r:id="rId39"/>
    <p:sldId id="729" r:id="rId40"/>
    <p:sldId id="730" r:id="rId41"/>
    <p:sldId id="731" r:id="rId42"/>
    <p:sldId id="732" r:id="rId43"/>
    <p:sldId id="733" r:id="rId44"/>
    <p:sldId id="734" r:id="rId45"/>
    <p:sldId id="735" r:id="rId46"/>
    <p:sldId id="541" r:id="rId47"/>
    <p:sldId id="805" r:id="rId48"/>
    <p:sldId id="919" r:id="rId49"/>
    <p:sldId id="918" r:id="rId50"/>
    <p:sldId id="920" r:id="rId51"/>
    <p:sldId id="829" r:id="rId52"/>
    <p:sldId id="911" r:id="rId53"/>
    <p:sldId id="912" r:id="rId54"/>
    <p:sldId id="830" r:id="rId55"/>
    <p:sldId id="913" r:id="rId56"/>
    <p:sldId id="914" r:id="rId57"/>
    <p:sldId id="925" r:id="rId5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89B1"/>
    <a:srgbClr val="4AB5C4"/>
    <a:srgbClr val="2C7D88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91" autoAdjust="0"/>
    <p:restoredTop sz="80552" autoAdjust="0"/>
  </p:normalViewPr>
  <p:slideViewPr>
    <p:cSldViewPr snapToGrid="0">
      <p:cViewPr varScale="1">
        <p:scale>
          <a:sx n="70" d="100"/>
          <a:sy n="70" d="100"/>
        </p:scale>
        <p:origin x="1368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8412"/>
    </p:cViewPr>
  </p:sorterViewPr>
  <p:notesViewPr>
    <p:cSldViewPr>
      <p:cViewPr>
        <p:scale>
          <a:sx n="100" d="100"/>
          <a:sy n="100" d="100"/>
        </p:scale>
        <p:origin x="-1746" y="271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63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9" Type="http://schemas.openxmlformats.org/officeDocument/2006/relationships/slide" Target="slides/slide17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5" Type="http://schemas.openxmlformats.org/officeDocument/2006/relationships/slideMaster" Target="slideMasters/slideMaster5.xml"/><Relationship Id="rId61" Type="http://schemas.openxmlformats.org/officeDocument/2006/relationships/commentAuthors" Target="commentAuthors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handoutMaster" Target="handoutMasters/handout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017200000000003E-2"/>
          <c:y val="5.6241199999999998E-2"/>
          <c:w val="0.90703100000000003"/>
          <c:h val="0.7625349999999999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id not attempt 9hrs in focus area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atOff val="-3355"/>
                    <a:lumOff val="26614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0" i="0" u="none" strike="noStrike">
                    <a:solidFill>
                      <a:srgbClr val="FFFFFF"/>
                    </a:solidFill>
                    <a:effectLst>
                      <a:outerShdw blurRad="127000" dist="25433" dir="5400000" algn="tl">
                        <a:srgbClr val="000000">
                          <a:alpha val="60000"/>
                        </a:srgbClr>
                      </a:outerShdw>
                    </a:effectLst>
                    <a:latin typeface="Helvetica Ligh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6yr Graduation Rate</c:v>
                </c:pt>
              </c:strCache>
            </c:strRef>
          </c:cat>
          <c:val>
            <c:numRef>
              <c:f>Sheet1!$B$2:$B$2</c:f>
              <c:numCache>
                <c:formatCode>General</c:formatCode>
                <c:ptCount val="1"/>
                <c:pt idx="0">
                  <c:v>0.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90-480C-BE7E-C532157B86F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ttempted 9hrs in focus area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hueOff val="-2473792"/>
                    <a:satOff val="-50209"/>
                    <a:lumOff val="23543"/>
                  </a:schemeClr>
                </a:gs>
                <a:gs pos="100000">
                  <a:schemeClr val="accent2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0" i="0" u="none" strike="noStrike">
                    <a:solidFill>
                      <a:srgbClr val="FFFFFF"/>
                    </a:solidFill>
                    <a:effectLst>
                      <a:outerShdw blurRad="127000" dist="25433" dir="5400000" algn="tl">
                        <a:srgbClr val="000000">
                          <a:alpha val="60000"/>
                        </a:srgbClr>
                      </a:outerShdw>
                    </a:effectLst>
                    <a:latin typeface="Helvetica Ligh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6yr Graduation Rate</c:v>
                </c:pt>
              </c:strCache>
            </c:strRef>
          </c:cat>
          <c:val>
            <c:numRef>
              <c:f>Sheet1!$B$3:$B$3</c:f>
              <c:numCache>
                <c:formatCode>General</c:formatCode>
                <c:ptCount val="1"/>
                <c:pt idx="0">
                  <c:v>0.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A90-480C-BE7E-C532157B86F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Earned 9hrs in focus area</c:v>
                </c:pt>
              </c:strCache>
            </c:strRef>
          </c:tx>
          <c:spPr>
            <a:gradFill flip="none" rotWithShape="1">
              <a:gsLst>
                <a:gs pos="0">
                  <a:schemeClr val="accent3">
                    <a:hueOff val="136526"/>
                    <a:satOff val="23858"/>
                    <a:lumOff val="7773"/>
                  </a:schemeClr>
                </a:gs>
                <a:gs pos="100000">
                  <a:schemeClr val="accent3">
                    <a:hueOff val="-192296"/>
                    <a:satOff val="2884"/>
                    <a:lumOff val="-7566"/>
                  </a:schemeClr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0" i="0" u="none" strike="noStrike">
                    <a:solidFill>
                      <a:srgbClr val="FFFFFF"/>
                    </a:solidFill>
                    <a:effectLst>
                      <a:outerShdw blurRad="127000" dist="25433" dir="5400000" algn="tl">
                        <a:srgbClr val="000000">
                          <a:alpha val="60000"/>
                        </a:srgbClr>
                      </a:outerShdw>
                    </a:effectLst>
                    <a:latin typeface="Helvetica Ligh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B$1</c:f>
              <c:strCache>
                <c:ptCount val="1"/>
                <c:pt idx="0">
                  <c:v>6yr Graduation Rate</c:v>
                </c:pt>
              </c:strCache>
            </c:strRef>
          </c:cat>
          <c:val>
            <c:numRef>
              <c:f>Sheet1!$B$4:$B$4</c:f>
              <c:numCache>
                <c:formatCode>General</c:formatCode>
                <c:ptCount val="1"/>
                <c:pt idx="0">
                  <c:v>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A90-480C-BE7E-C532157B86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10"/>
        <c:axId val="184078288"/>
        <c:axId val="178567232"/>
      </c:barChart>
      <c:catAx>
        <c:axId val="184078288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one"/>
        <c:spPr>
          <a:ln w="12700" cap="flat">
            <a:solidFill>
              <a:srgbClr val="000000"/>
            </a:solidFill>
            <a:prstDash val="solid"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000000"/>
                </a:solidFill>
                <a:latin typeface="Helvetica Light"/>
              </a:defRPr>
            </a:pPr>
            <a:endParaRPr lang="en-US"/>
          </a:p>
        </c:txPr>
        <c:crossAx val="178567232"/>
        <c:crosses val="autoZero"/>
        <c:auto val="1"/>
        <c:lblAlgn val="ctr"/>
        <c:lblOffset val="100"/>
        <c:noMultiLvlLbl val="1"/>
      </c:catAx>
      <c:valAx>
        <c:axId val="178567232"/>
        <c:scaling>
          <c:orientation val="minMax"/>
        </c:scaling>
        <c:delete val="0"/>
        <c:axPos val="t"/>
        <c:majorGridlines>
          <c:spPr>
            <a:ln w="12700" cap="flat">
              <a:solidFill>
                <a:srgbClr val="929292"/>
              </a:solidFill>
              <a:custDash>
                <a:ds d="200000" sp="200000"/>
              </a:custDash>
              <a:miter lim="400000"/>
            </a:ln>
          </c:spPr>
        </c:majorGridlines>
        <c:title>
          <c:tx>
            <c:rich>
              <a:bodyPr rot="0"/>
              <a:lstStyle/>
              <a:p>
                <a:pPr>
                  <a:defRPr sz="2300" b="0" i="0" u="none" strike="noStrike">
                    <a:solidFill>
                      <a:srgbClr val="000000"/>
                    </a:solidFill>
                    <a:latin typeface="Helvetica Light"/>
                  </a:defRPr>
                </a:pPr>
                <a:r>
                  <a:rPr lang="en-US" sz="2300" b="0" i="0" u="none" strike="noStrike">
                    <a:solidFill>
                      <a:srgbClr val="000000"/>
                    </a:solidFill>
                    <a:latin typeface="Helvetica Light"/>
                  </a:rPr>
                  <a:t>6 yr Graduation Rates</a:t>
                </a:r>
              </a:p>
            </c:rich>
          </c:tx>
          <c:layout/>
          <c:overlay val="1"/>
        </c:title>
        <c:numFmt formatCode="#,##0%" sourceLinked="0"/>
        <c:majorTickMark val="none"/>
        <c:minorTickMark val="none"/>
        <c:tickLblPos val="high"/>
        <c:spPr>
          <a:ln w="12700" cap="flat">
            <a:noFill/>
            <a:prstDash val="solid"/>
            <a:miter lim="400000"/>
          </a:ln>
        </c:spPr>
        <c:txPr>
          <a:bodyPr rot="0"/>
          <a:lstStyle/>
          <a:p>
            <a:pPr>
              <a:defRPr sz="2000" b="0" i="0" u="none" strike="noStrike">
                <a:solidFill>
                  <a:srgbClr val="000000"/>
                </a:solidFill>
                <a:latin typeface="Helvetica Light"/>
              </a:defRPr>
            </a:pPr>
            <a:endParaRPr lang="en-US"/>
          </a:p>
        </c:txPr>
        <c:crossAx val="184078288"/>
        <c:crosses val="autoZero"/>
        <c:crossBetween val="between"/>
        <c:majorUnit val="0.1"/>
        <c:minorUnit val="0.05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roundedCorners val="0"/>
  <c:style val="18"/>
  <c:chart>
    <c:title>
      <c:tx>
        <c:rich>
          <a:bodyPr rot="0"/>
          <a:lstStyle/>
          <a:p>
            <a:pPr>
              <a:defRPr sz="2700" b="0" i="0" u="none" strike="noStrike">
                <a:solidFill>
                  <a:srgbClr val="000000"/>
                </a:solidFill>
                <a:latin typeface="Helvetica"/>
              </a:defRPr>
            </a:pPr>
            <a:r>
              <a:rPr lang="en-US" sz="2000" b="0" i="0" u="none" strike="noStrike" dirty="0">
                <a:solidFill>
                  <a:srgbClr val="000000"/>
                </a:solidFill>
                <a:latin typeface="Helvetica"/>
              </a:rPr>
              <a:t>Community College Freshmen</a:t>
            </a:r>
            <a:endParaRPr lang="en-US" sz="2700" b="0" i="0" u="none" strike="noStrike" dirty="0">
              <a:solidFill>
                <a:srgbClr val="000000"/>
              </a:solidFill>
              <a:latin typeface="Helvetica"/>
            </a:endParaRPr>
          </a:p>
        </c:rich>
      </c:tx>
      <c:layout>
        <c:manualLayout>
          <c:xMode val="edge"/>
          <c:yMode val="edge"/>
          <c:x val="2.8927100000000001E-2"/>
          <c:y val="0"/>
          <c:w val="0.46729300000000001"/>
          <c:h val="8.4862999999999994E-2"/>
        </c:manualLayout>
      </c:layout>
      <c:overlay val="1"/>
      <c:spPr>
        <a:noFill/>
        <a:effectLst/>
      </c:spPr>
    </c:title>
    <c:autoTitleDeleted val="0"/>
    <c:plotArea>
      <c:layout>
        <c:manualLayout>
          <c:layoutTarget val="inner"/>
          <c:xMode val="edge"/>
          <c:yMode val="edge"/>
          <c:x val="5.2569699999999997E-2"/>
          <c:y val="8.4862999999999994E-2"/>
          <c:w val="0.47257700000000002"/>
          <c:h val="0.761125999999999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ttempted 9 Focus Hours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atOff val="-3355"/>
                    <a:lumOff val="26614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 i="0" u="none" strike="noStrike">
                    <a:solidFill>
                      <a:srgbClr val="000000"/>
                    </a:solidFill>
                    <a:latin typeface="Helvetica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2009-10</c:v>
                </c:pt>
                <c:pt idx="1">
                  <c:v>2010-11</c:v>
                </c:pt>
                <c:pt idx="2">
                  <c:v>2011-12</c:v>
                </c:pt>
                <c:pt idx="3">
                  <c:v>2012-13</c:v>
                </c:pt>
                <c:pt idx="4">
                  <c:v>2013-14</c:v>
                </c:pt>
                <c:pt idx="5">
                  <c:v>2014-15</c:v>
                </c:pt>
                <c:pt idx="6">
                  <c:v>2015-16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23987800000000001</c:v>
                </c:pt>
                <c:pt idx="1">
                  <c:v>0.22101499999999999</c:v>
                </c:pt>
                <c:pt idx="2">
                  <c:v>0.26648899999999998</c:v>
                </c:pt>
                <c:pt idx="3">
                  <c:v>0.26510699999999998</c:v>
                </c:pt>
                <c:pt idx="4">
                  <c:v>0.28245500000000001</c:v>
                </c:pt>
                <c:pt idx="5">
                  <c:v>0.31937599999999999</c:v>
                </c:pt>
                <c:pt idx="6">
                  <c:v>0.412816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893-4CD9-9CD5-423561729A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arned 9 Focus Hours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hueOff val="-2473792"/>
                    <a:satOff val="-50209"/>
                    <a:lumOff val="23543"/>
                  </a:schemeClr>
                </a:gs>
                <a:gs pos="100000">
                  <a:schemeClr val="accent2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 i="0" u="none" strike="noStrike">
                    <a:solidFill>
                      <a:srgbClr val="000000"/>
                    </a:solidFill>
                    <a:latin typeface="Helvetica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2009-10</c:v>
                </c:pt>
                <c:pt idx="1">
                  <c:v>2010-11</c:v>
                </c:pt>
                <c:pt idx="2">
                  <c:v>2011-12</c:v>
                </c:pt>
                <c:pt idx="3">
                  <c:v>2012-13</c:v>
                </c:pt>
                <c:pt idx="4">
                  <c:v>2013-14</c:v>
                </c:pt>
                <c:pt idx="5">
                  <c:v>2014-15</c:v>
                </c:pt>
                <c:pt idx="6">
                  <c:v>2015-16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.199792</c:v>
                </c:pt>
                <c:pt idx="1">
                  <c:v>0.17801700000000001</c:v>
                </c:pt>
                <c:pt idx="2">
                  <c:v>0.210508</c:v>
                </c:pt>
                <c:pt idx="3">
                  <c:v>0.20683499999999999</c:v>
                </c:pt>
                <c:pt idx="4">
                  <c:v>0.223602</c:v>
                </c:pt>
                <c:pt idx="5">
                  <c:v>0.25451600000000002</c:v>
                </c:pt>
                <c:pt idx="6">
                  <c:v>0.319099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893-4CD9-9CD5-423561729A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10"/>
        <c:axId val="178560160"/>
        <c:axId val="178567776"/>
      </c:barChart>
      <c:catAx>
        <c:axId val="17856016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12700" cap="flat">
            <a:solidFill>
              <a:srgbClr val="000000"/>
            </a:solidFill>
            <a:prstDash val="solid"/>
            <a:miter lim="400000"/>
          </a:ln>
        </c:spPr>
        <c:txPr>
          <a:bodyPr rot="0"/>
          <a:lstStyle/>
          <a:p>
            <a:pPr>
              <a:defRPr sz="11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  <c:crossAx val="178567776"/>
        <c:crosses val="autoZero"/>
        <c:auto val="1"/>
        <c:lblAlgn val="ctr"/>
        <c:lblOffset val="100"/>
        <c:noMultiLvlLbl val="1"/>
      </c:catAx>
      <c:valAx>
        <c:axId val="178567776"/>
        <c:scaling>
          <c:orientation val="minMax"/>
        </c:scaling>
        <c:delete val="0"/>
        <c:axPos val="l"/>
        <c:majorGridlines>
          <c:spPr>
            <a:ln w="3175" cap="flat">
              <a:solidFill>
                <a:srgbClr val="B8B8B8"/>
              </a:solidFill>
              <a:prstDash val="solid"/>
              <a:miter lim="400000"/>
            </a:ln>
          </c:spPr>
        </c:majorGridlines>
        <c:numFmt formatCode="#,##0%" sourceLinked="0"/>
        <c:majorTickMark val="none"/>
        <c:minorTickMark val="none"/>
        <c:tickLblPos val="nextTo"/>
        <c:spPr>
          <a:ln w="12700" cap="flat">
            <a:noFill/>
            <a:prstDash val="solid"/>
            <a:miter lim="400000"/>
          </a:ln>
        </c:spPr>
        <c:txPr>
          <a:bodyPr rot="0"/>
          <a:lstStyle/>
          <a:p>
            <a:pPr>
              <a:defRPr sz="14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  <c:crossAx val="178560160"/>
        <c:crosses val="autoZero"/>
        <c:crossBetween val="between"/>
        <c:majorUnit val="0.1"/>
        <c:minorUnit val="0.05"/>
      </c:valAx>
      <c:spPr>
        <a:noFill/>
        <a:ln w="12700" cap="flat">
          <a:noFill/>
          <a:miter lim="400000"/>
        </a:ln>
        <a:effectLst/>
      </c:spPr>
    </c:plotArea>
    <c:legend>
      <c:legendPos val="b"/>
      <c:legendEntry>
        <c:idx val="0"/>
        <c:txPr>
          <a:bodyPr rot="0"/>
          <a:lstStyle/>
          <a:p>
            <a:pPr>
              <a:defRPr sz="20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</c:legendEntry>
      <c:legendEntry>
        <c:idx val="1"/>
        <c:txPr>
          <a:bodyPr rot="0"/>
          <a:lstStyle/>
          <a:p>
            <a:pPr>
              <a:defRPr sz="20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</c:legendEntry>
      <c:layout>
        <c:manualLayout>
          <c:xMode val="edge"/>
          <c:yMode val="edge"/>
          <c:x val="5.0000028703069049E-2"/>
          <c:y val="0.9127197912955477"/>
          <c:w val="0.94817732641244934"/>
          <c:h val="8.7280208704452286E-2"/>
        </c:manualLayout>
      </c:layout>
      <c:overlay val="1"/>
      <c:spPr>
        <a:noFill/>
        <a:ln w="12700" cap="flat">
          <a:noFill/>
          <a:miter lim="400000"/>
        </a:ln>
        <a:effectLst/>
      </c:spPr>
      <c:txPr>
        <a:bodyPr rot="0"/>
        <a:lstStyle/>
        <a:p>
          <a:pPr>
            <a:defRPr sz="2400" b="0" i="0" u="none" strike="noStrike">
              <a:solidFill>
                <a:srgbClr val="000000"/>
              </a:solidFill>
              <a:latin typeface="Helvetica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roundedCorners val="0"/>
  <c:style val="18"/>
  <c:chart>
    <c:title>
      <c:tx>
        <c:rich>
          <a:bodyPr rot="0"/>
          <a:lstStyle/>
          <a:p>
            <a:pPr>
              <a:defRPr sz="2100" b="0" i="0" u="none" strike="noStrike">
                <a:solidFill>
                  <a:srgbClr val="000000"/>
                </a:solidFill>
                <a:latin typeface="Helvetica"/>
              </a:defRPr>
            </a:pPr>
            <a:r>
              <a:rPr lang="en-US" sz="2100" b="0" i="0" u="none" strike="noStrike" dirty="0">
                <a:solidFill>
                  <a:srgbClr val="000000"/>
                </a:solidFill>
                <a:latin typeface="Helvetica"/>
              </a:rPr>
              <a:t>Community College Minority Freshmen </a:t>
            </a:r>
          </a:p>
        </c:rich>
      </c:tx>
      <c:layout>
        <c:manualLayout>
          <c:xMode val="edge"/>
          <c:yMode val="edge"/>
          <c:x val="0.10004005700208611"/>
          <c:y val="6.0814012314598072E-3"/>
          <c:w val="0.89995999999999998"/>
          <c:h val="8.3381700000000003E-2"/>
        </c:manualLayout>
      </c:layout>
      <c:overlay val="1"/>
      <c:spPr>
        <a:noFill/>
        <a:effectLst/>
      </c:spPr>
    </c:title>
    <c:autoTitleDeleted val="0"/>
    <c:plotArea>
      <c:layout>
        <c:manualLayout>
          <c:layoutTarget val="inner"/>
          <c:xMode val="edge"/>
          <c:yMode val="edge"/>
          <c:x val="0.100105"/>
          <c:y val="8.3381700000000003E-2"/>
          <c:w val="0.894895"/>
          <c:h val="0.864565000000000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ttempted 9 Focus Hours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satOff val="-3355"/>
                    <a:lumOff val="26614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 i="0" u="none" strike="noStrike">
                    <a:solidFill>
                      <a:srgbClr val="000000"/>
                    </a:solidFill>
                    <a:latin typeface="Helvetica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2009-10</c:v>
                </c:pt>
                <c:pt idx="1">
                  <c:v>2010-11</c:v>
                </c:pt>
                <c:pt idx="2">
                  <c:v>2011-12</c:v>
                </c:pt>
                <c:pt idx="3">
                  <c:v>2012-13</c:v>
                </c:pt>
                <c:pt idx="4">
                  <c:v>2013-14</c:v>
                </c:pt>
                <c:pt idx="5">
                  <c:v>2014-15</c:v>
                </c:pt>
                <c:pt idx="6">
                  <c:v>2015-16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11684600000000001</c:v>
                </c:pt>
                <c:pt idx="1">
                  <c:v>0.104856</c:v>
                </c:pt>
                <c:pt idx="2">
                  <c:v>0.132747</c:v>
                </c:pt>
                <c:pt idx="3">
                  <c:v>0.15080099999999999</c:v>
                </c:pt>
                <c:pt idx="4">
                  <c:v>0.162129</c:v>
                </c:pt>
                <c:pt idx="5">
                  <c:v>0.20041300000000001</c:v>
                </c:pt>
                <c:pt idx="6">
                  <c:v>0.2911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49D-4002-81F2-CBBA0A6186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arned 9 Focus Hours</c:v>
                </c:pt>
              </c:strCache>
            </c:strRef>
          </c:tx>
          <c:spPr>
            <a:gradFill flip="none" rotWithShape="1">
              <a:gsLst>
                <a:gs pos="0">
                  <a:schemeClr val="accent2">
                    <a:hueOff val="-2473792"/>
                    <a:satOff val="-50209"/>
                    <a:lumOff val="23543"/>
                  </a:schemeClr>
                </a:gs>
                <a:gs pos="100000">
                  <a:schemeClr val="accent2"/>
                </a:gs>
              </a:gsLst>
              <a:lin ang="5400000" scaled="0"/>
            </a:gradFill>
            <a:ln w="12700" cap="flat">
              <a:noFill/>
              <a:miter lim="400000"/>
            </a:ln>
            <a:effectLst/>
          </c:spPr>
          <c:invertIfNegative val="0"/>
          <c:dLbls>
            <c:numFmt formatCode="#,#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00" b="0" i="0" u="none" strike="noStrike">
                    <a:solidFill>
                      <a:srgbClr val="000000"/>
                    </a:solidFill>
                    <a:latin typeface="Helvetica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2009-10</c:v>
                </c:pt>
                <c:pt idx="1">
                  <c:v>2010-11</c:v>
                </c:pt>
                <c:pt idx="2">
                  <c:v>2011-12</c:v>
                </c:pt>
                <c:pt idx="3">
                  <c:v>2012-13</c:v>
                </c:pt>
                <c:pt idx="4">
                  <c:v>2013-14</c:v>
                </c:pt>
                <c:pt idx="5">
                  <c:v>2014-15</c:v>
                </c:pt>
                <c:pt idx="6">
                  <c:v>2015-16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8.8888999999999996E-2</c:v>
                </c:pt>
                <c:pt idx="1">
                  <c:v>7.4773999999999993E-2</c:v>
                </c:pt>
                <c:pt idx="2">
                  <c:v>9.4108999999999998E-2</c:v>
                </c:pt>
                <c:pt idx="3">
                  <c:v>0.101423</c:v>
                </c:pt>
                <c:pt idx="4">
                  <c:v>0.110149</c:v>
                </c:pt>
                <c:pt idx="5">
                  <c:v>0.145041</c:v>
                </c:pt>
                <c:pt idx="6">
                  <c:v>0.1903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49D-4002-81F2-CBBA0A6186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-10"/>
        <c:axId val="178556352"/>
        <c:axId val="178564512"/>
      </c:barChart>
      <c:catAx>
        <c:axId val="17855635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ln w="12700" cap="flat">
            <a:solidFill>
              <a:srgbClr val="000000"/>
            </a:solidFill>
            <a:prstDash val="solid"/>
            <a:miter lim="400000"/>
          </a:ln>
        </c:spPr>
        <c:txPr>
          <a:bodyPr rot="0"/>
          <a:lstStyle/>
          <a:p>
            <a:pPr>
              <a:defRPr sz="12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  <c:crossAx val="178564512"/>
        <c:crosses val="autoZero"/>
        <c:auto val="1"/>
        <c:lblAlgn val="ctr"/>
        <c:lblOffset val="100"/>
        <c:noMultiLvlLbl val="1"/>
      </c:catAx>
      <c:valAx>
        <c:axId val="178564512"/>
        <c:scaling>
          <c:orientation val="minMax"/>
        </c:scaling>
        <c:delete val="0"/>
        <c:axPos val="l"/>
        <c:majorGridlines>
          <c:spPr>
            <a:ln w="3175" cap="flat">
              <a:solidFill>
                <a:srgbClr val="B8B8B8"/>
              </a:solidFill>
              <a:prstDash val="solid"/>
              <a:miter lim="400000"/>
            </a:ln>
          </c:spPr>
        </c:majorGridlines>
        <c:numFmt formatCode="#,##0%" sourceLinked="0"/>
        <c:majorTickMark val="none"/>
        <c:minorTickMark val="none"/>
        <c:tickLblPos val="nextTo"/>
        <c:spPr>
          <a:ln w="12700" cap="flat">
            <a:noFill/>
            <a:prstDash val="solid"/>
            <a:miter lim="400000"/>
          </a:ln>
        </c:spPr>
        <c:txPr>
          <a:bodyPr rot="0"/>
          <a:lstStyle/>
          <a:p>
            <a:pPr>
              <a:defRPr sz="1400" b="0" i="0" u="none" strike="noStrike">
                <a:solidFill>
                  <a:srgbClr val="000000"/>
                </a:solidFill>
                <a:latin typeface="Helvetica"/>
              </a:defRPr>
            </a:pPr>
            <a:endParaRPr lang="en-US"/>
          </a:p>
        </c:txPr>
        <c:crossAx val="178556352"/>
        <c:crosses val="autoZero"/>
        <c:crossBetween val="between"/>
        <c:majorUnit val="0.1"/>
        <c:minorUnit val="0.05"/>
      </c:valAx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172" y="0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7393601F-6DFA-4901-BED3-07C3D11D8743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822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172" y="8829822"/>
            <a:ext cx="3037627" cy="466578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F9661FEF-2FF5-48AD-864B-7FD61090E3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0044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3/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1" tIns="46586" rIns="93171" bIns="465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1"/>
            <a:ext cx="5608320" cy="4183380"/>
          </a:xfrm>
          <a:prstGeom prst="rect">
            <a:avLst/>
          </a:prstGeom>
        </p:spPr>
        <p:txBody>
          <a:bodyPr vert="horz" lIns="93171" tIns="46586" rIns="93171" bIns="4658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6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3171" tIns="46586" rIns="93171" bIns="46586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1917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297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424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18381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02309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1800"/>
              </a:spcBef>
              <a:buSzPct val="85000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9198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ts val="1800"/>
              </a:spcBef>
              <a:buSzPct val="85000"/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8250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ts val="1800"/>
              </a:spcBef>
              <a:buSzPct val="85000"/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5718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98CC10-8BDD-45CC-B22A-58B67AAE9F36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5612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2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98CC10-8BDD-45CC-B22A-58B67AAE9F36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09072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98CC10-8BDD-45CC-B22A-58B67AAE9F36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32555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C1BF69-0C71-4B88-AA8F-AF8EE4A4BDA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7545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81223E-3D96-0848-9292-9E9F2F9C477D}" type="slidenum">
              <a:rPr lang="en-US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8243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49192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519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9872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E9EC6E68-91FA-4CA7-8DD7-25476B1B0A37}" type="slidenum">
              <a:rPr lang="en-US" sz="1800" kern="0">
                <a:solidFill>
                  <a:sysClr val="windowText" lastClr="000000"/>
                </a:solidFill>
              </a:rPr>
              <a:pPr defTabSz="921167">
                <a:defRPr/>
              </a:pPr>
              <a:t>24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6989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92454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Democratized</a:t>
            </a:r>
            <a:r>
              <a:rPr lang="en-US" baseline="0" dirty="0" smtClean="0"/>
              <a:t> access but didn’t change anything el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1715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6546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telligent design,</a:t>
            </a:r>
            <a:r>
              <a:rPr lang="en-US" baseline="0" dirty="0" smtClean="0"/>
              <a:t> not random assignment</a:t>
            </a:r>
          </a:p>
          <a:p>
            <a:r>
              <a:rPr lang="en-US" baseline="0" dirty="0" smtClean="0"/>
              <a:t>GE SLOs are what employers are looking for – not just AA grads it’s all college graduates at all level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910550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ame requirements</a:t>
            </a:r>
            <a:r>
              <a:rPr lang="en-US" baseline="0" dirty="0" smtClean="0"/>
              <a:t> just put together into cohesive and customized and relevant package for stud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77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01C1BF69-0C71-4B88-AA8F-AF8EE4A4BDA5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3</a:t>
            </a:fld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51191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May lose control of teaching</a:t>
            </a:r>
            <a:r>
              <a:rPr lang="en-US" baseline="0" dirty="0" smtClean="0"/>
              <a:t> what you want when you want</a:t>
            </a:r>
          </a:p>
          <a:p>
            <a:r>
              <a:rPr lang="en-US" baseline="0" dirty="0" smtClean="0"/>
              <a:t>What do students need to take and when should we offer it</a:t>
            </a:r>
          </a:p>
          <a:p>
            <a:r>
              <a:rPr lang="en-US" baseline="0" dirty="0" smtClean="0"/>
              <a:t>Dev </a:t>
            </a:r>
            <a:r>
              <a:rPr lang="en-US" baseline="0" dirty="0" err="1" smtClean="0"/>
              <a:t>ed</a:t>
            </a:r>
            <a:r>
              <a:rPr lang="en-US" baseline="0" dirty="0" smtClean="0"/>
              <a:t> math pathways decision is now focused on what math students need for their pathways and ultimate careers</a:t>
            </a:r>
          </a:p>
          <a:p>
            <a:r>
              <a:rPr lang="en-US" baseline="0" dirty="0" smtClean="0"/>
              <a:t>Move from control of what is taught in discipline to control over what is taught in programs</a:t>
            </a:r>
          </a:p>
          <a:p>
            <a:r>
              <a:rPr lang="en-US" b="1" baseline="0" dirty="0" smtClean="0"/>
              <a:t>Read paper response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93189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asier to drop out when not making progress</a:t>
            </a:r>
          </a:p>
          <a:p>
            <a:r>
              <a:rPr lang="en-US" dirty="0" smtClean="0"/>
              <a:t>For every one that graduates with 95 units,</a:t>
            </a:r>
            <a:r>
              <a:rPr lang="en-US" baseline="0" dirty="0" smtClean="0"/>
              <a:t> there are 5 that don’t graduate at all</a:t>
            </a:r>
          </a:p>
          <a:p>
            <a:r>
              <a:rPr lang="en-US" baseline="0" dirty="0" smtClean="0"/>
              <a:t>Enrollment management is about keeping ones you have and not getting new on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01189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8109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tudent</a:t>
            </a:r>
            <a:r>
              <a:rPr lang="en-US" baseline="0" dirty="0" smtClean="0"/>
              <a:t> support redefined students didn’t say they want to wander, directed and focused were prioritized</a:t>
            </a:r>
          </a:p>
          <a:p>
            <a:r>
              <a:rPr lang="en-US" baseline="0" dirty="0" smtClean="0"/>
              <a:t>Guided exploration, process of elimination to isolate what like and don’t like</a:t>
            </a:r>
          </a:p>
          <a:p>
            <a:r>
              <a:rPr lang="en-US" baseline="0" dirty="0" smtClean="0"/>
              <a:t>Get students into careers instead of job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02134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Get students into careers, GE is important</a:t>
            </a:r>
            <a:r>
              <a:rPr lang="en-US" baseline="0" dirty="0" smtClean="0"/>
              <a:t> to supporting flexibility to change careers</a:t>
            </a:r>
          </a:p>
          <a:p>
            <a:r>
              <a:rPr lang="en-US" baseline="0" dirty="0" smtClean="0"/>
              <a:t>Need to get into first career</a:t>
            </a:r>
          </a:p>
          <a:p>
            <a:r>
              <a:rPr lang="en-US" baseline="0" dirty="0" smtClean="0"/>
              <a:t>Careful not tracking students into low income careers, historically done that, there are ways to avoid </a:t>
            </a:r>
          </a:p>
          <a:p>
            <a:r>
              <a:rPr lang="en-US" baseline="0" dirty="0" smtClean="0"/>
              <a:t>Bridge programs to get college read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0805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>
                <a:solidFill>
                  <a:prstClr val="black"/>
                </a:solidFill>
              </a:rPr>
              <a:pPr/>
              <a:t>3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58687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3369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01C1BF69-0C71-4B88-AA8F-AF8EE4A4BDA5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37</a:t>
            </a:fld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8594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19340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7614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703263"/>
            <a:ext cx="4684713" cy="3513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BF34750A-0A13-1C45-8D38-1E752286CA6A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4</a:t>
            </a:fld>
            <a:endParaRPr lang="en-US" sz="18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263011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E9EC6E68-91FA-4CA7-8DD7-25476B1B0A37}" type="slidenum">
              <a:rPr lang="en-US" sz="1800" kern="0">
                <a:solidFill>
                  <a:sysClr val="windowText" lastClr="000000"/>
                </a:solidFill>
              </a:rPr>
              <a:pPr defTabSz="921167">
                <a:defRPr/>
              </a:pPr>
              <a:t>40</a:t>
            </a:fld>
            <a:endParaRPr lang="en-US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75005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Calibri"/>
              <a:buNone/>
            </a:pPr>
            <a:fld id="{00000000-1234-1234-1234-123412341234}" type="slidenum">
              <a:rPr lang="en-US" sz="1200" b="0" i="0" u="none" strike="noStrike" cap="none" baseline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1</a:t>
            </a:fld>
            <a:endParaRPr lang="en-US" sz="1200" b="0" i="0" u="none" strike="noStrike" cap="none" baseline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734390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Calibri"/>
              <a:buNone/>
            </a:pPr>
            <a:fld id="{00000000-1234-1234-1234-123412341234}" type="slidenum">
              <a:rPr lang="en-US" sz="1200" b="0" i="0" u="none" strike="noStrike" cap="none" baseline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2</a:t>
            </a:fld>
            <a:endParaRPr lang="en-US" sz="1200" b="0" i="0" u="none" strike="noStrike" cap="none" baseline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4698650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046948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Calibri"/>
              <a:buNone/>
            </a:pPr>
            <a:fld id="{00000000-1234-1234-1234-123412341234}" type="slidenum">
              <a:rPr lang="en-US" sz="1200" b="0" i="0" u="none" strike="noStrike" cap="none" baseline="0" smtClean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4</a:t>
            </a:fld>
            <a:endParaRPr lang="en-US" sz="1200" b="0" i="0" u="none" strike="noStrike" cap="none" baseline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6797675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662953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C6E68-91FA-4CA7-8DD7-25476B1B0A37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0755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C1625F3E-564F-554F-9C3B-BCE117FFDB69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5</a:t>
            </a:fld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143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703263"/>
            <a:ext cx="4684713" cy="3513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506E3BAA-68C0-4015-833A-6859E6A647EB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6</a:t>
            </a:fld>
            <a:endParaRPr lang="en-US" sz="1800" kern="0">
              <a:solidFill>
                <a:prstClr val="black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21167">
              <a:defRPr/>
            </a:pPr>
            <a:endParaRPr lang="en-US" sz="1800" kern="0">
              <a:solidFill>
                <a:prstClr val="black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21167">
              <a:defRPr/>
            </a:pPr>
            <a:endParaRPr lang="en-US" sz="18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3157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65225" y="703263"/>
            <a:ext cx="4684713" cy="3513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506E3BAA-68C0-4015-833A-6859E6A647EB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7</a:t>
            </a:fld>
            <a:endParaRPr lang="en-US" sz="1800" kern="0">
              <a:solidFill>
                <a:prstClr val="black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defTabSz="921167">
              <a:defRPr/>
            </a:pPr>
            <a:endParaRPr lang="en-US" sz="1800" kern="0">
              <a:solidFill>
                <a:prstClr val="black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21167">
              <a:defRPr/>
            </a:pPr>
            <a:endParaRPr lang="en-US" sz="18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6973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65225" y="703263"/>
            <a:ext cx="4684713" cy="3513137"/>
          </a:xfrm>
          <a:ln/>
        </p:spPr>
      </p:sp>
      <p:sp>
        <p:nvSpPr>
          <p:cNvPr id="12185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ea typeface="ヒラギノ角ゴ Pro W3" pitchFamily="1" charset="-128"/>
            </a:endParaRPr>
          </a:p>
        </p:txBody>
      </p:sp>
      <p:sp>
        <p:nvSpPr>
          <p:cNvPr id="12186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62668" indent="-293334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73336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42670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112005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81339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3050673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520008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989342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defTabSz="921167">
              <a:defRPr/>
            </a:pPr>
            <a:fld id="{D1130F92-411B-4CDF-9EAB-752BED63AD7C}" type="slidenum">
              <a:rPr lang="en-US" sz="1200" kern="0">
                <a:solidFill>
                  <a:prstClr val="black"/>
                </a:solidFill>
              </a:rPr>
              <a:pPr defTabSz="921167">
                <a:defRPr/>
              </a:pPr>
              <a:t>8</a:t>
            </a:fld>
            <a:endParaRPr lang="en-US" sz="1200" kern="0">
              <a:solidFill>
                <a:prstClr val="black"/>
              </a:solidFill>
            </a:endParaRPr>
          </a:p>
        </p:txBody>
      </p:sp>
      <p:sp>
        <p:nvSpPr>
          <p:cNvPr id="121861" name="Header Placeholder 4"/>
          <p:cNvSpPr>
            <a:spLocks noGrp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62668" indent="-293334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73336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42670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112005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81339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3050673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520008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989342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defTabSz="921167">
              <a:defRPr/>
            </a:pPr>
            <a:endParaRPr lang="en-US" sz="1200" kern="0">
              <a:solidFill>
                <a:prstClr val="black"/>
              </a:solidFill>
            </a:endParaRPr>
          </a:p>
        </p:txBody>
      </p:sp>
      <p:sp>
        <p:nvSpPr>
          <p:cNvPr id="121862" name="Date Placeholder 5"/>
          <p:cNvSpPr>
            <a:spLocks noGrp="1"/>
          </p:cNvSpPr>
          <p:nvPr>
            <p:ph type="dt" sz="quarter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62668" indent="-293334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73336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42670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112005" indent="-234667" eaLnBrk="0" hangingPunct="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81339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3050673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520008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989342" indent="-2346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defTabSz="921167">
              <a:defRPr/>
            </a:pPr>
            <a:endParaRPr lang="en-US" sz="12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6924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167" eaLnBrk="0" fontAlgn="base" hangingPunct="0">
              <a:spcBef>
                <a:spcPct val="30000"/>
              </a:spcBef>
              <a:spcAft>
                <a:spcPct val="0"/>
              </a:spcAft>
              <a:defRPr/>
            </a:pPr>
            <a:r>
              <a:rPr lang="en-US" dirty="0" smtClean="0"/>
              <a:t> </a:t>
            </a:r>
            <a:r>
              <a:rPr lang="en-US" baseline="0" dirty="0" smtClean="0"/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1167">
              <a:defRPr/>
            </a:pPr>
            <a:fld id="{01C1BF69-0C71-4B88-AA8F-AF8EE4A4BDA5}" type="slidenum">
              <a:rPr lang="en-US" sz="1800" kern="0">
                <a:solidFill>
                  <a:prstClr val="black"/>
                </a:solidFill>
              </a:rPr>
              <a:pPr defTabSz="921167">
                <a:defRPr/>
              </a:pPr>
              <a:t>9</a:t>
            </a:fld>
            <a:endParaRPr lang="en-US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3513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jpe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jpe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3.gi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gi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8"/>
            <a:ext cx="8229600" cy="3851275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7" y="289987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plete College America GPS Meeting/ August 29, 2012</a:t>
            </a:r>
            <a:endParaRPr lang="en-US" sz="700" dirty="0">
              <a:solidFill>
                <a:srgbClr val="00539B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9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MUNITY COLLEGE RESEARCH CENTER</a:t>
            </a:r>
            <a:endParaRPr lang="en-US" sz="700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6633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4142669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82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2" y="200215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50" y="200215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67162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81" y="2379665"/>
            <a:ext cx="3979863" cy="3831592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12" y="2113916"/>
            <a:ext cx="3979863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50" y="2415328"/>
            <a:ext cx="3979333" cy="3794654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9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2" y="2415329"/>
            <a:ext cx="3979333" cy="3804814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82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284163" indent="-111125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50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346075" indent="-234950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017336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3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39" y="3108977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83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82" y="750889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2" y="1989995"/>
            <a:ext cx="3979333" cy="422729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7" y="1981521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2189651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6" y="2201334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82" y="2201334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3724179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592" y="6400800"/>
            <a:ext cx="1279525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14" y="242889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2884"/>
            <a:ext cx="2133600" cy="182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169A2AA-1921-43E5-9020-CC4D5CB96CC1}" type="datetime2">
              <a:rPr lang="en-US" altLang="en-US">
                <a:solidFill>
                  <a:srgbClr val="000000"/>
                </a:solidFill>
              </a:rPr>
              <a:pPr/>
              <a:t>Thursday, March 09, 2017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2884"/>
            <a:ext cx="2895600" cy="182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884"/>
            <a:ext cx="914400" cy="182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6AAC7E1-7A03-457F-A246-EDC5C1100EA6}" type="slidenum">
              <a:rPr lang="en-US" altLang="en-US">
                <a:solidFill>
                  <a:srgbClr val="000000"/>
                </a:solidFill>
              </a:rPr>
              <a:pPr/>
              <a:t>‹#›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73829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 txBox="1">
            <a:spLocks noChangeArrowheads="1"/>
          </p:cNvSpPr>
          <p:nvPr userDrawn="1"/>
        </p:nvSpPr>
        <p:spPr bwMode="auto">
          <a:xfrm>
            <a:off x="8802689" y="6564322"/>
            <a:ext cx="2000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E5AA471D-48CF-844E-A69E-867CC4001CDB}" type="slidenum">
              <a:rPr lang="en-US" smtClean="0">
                <a:solidFill>
                  <a:srgbClr val="FFFFFF"/>
                </a:solidFill>
                <a:latin typeface="Tahoma" pitchFamily="34" charset="0"/>
              </a:rPr>
              <a:pPr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63514" y="6564321"/>
            <a:ext cx="4197351" cy="155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01000"/>
              </a:lnSpc>
              <a:defRPr/>
            </a:pPr>
            <a:r>
              <a:rPr lang="en-US" sz="1000" dirty="0">
                <a:solidFill>
                  <a:srgbClr val="FFFFFF"/>
                </a:solidFill>
                <a:latin typeface="Tahoma" charset="0"/>
                <a:ea typeface="SimSun" charset="0"/>
              </a:rPr>
              <a:t>©2013 U.S. Education Delivery Institu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448283" y="370380"/>
            <a:ext cx="7467119" cy="29238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24"/>
              </a:spcBef>
              <a:spcAft>
                <a:spcPts val="0"/>
              </a:spcAft>
              <a:buNone/>
              <a:defRPr sz="1900" b="1" i="0" baseline="0">
                <a:solidFill>
                  <a:srgbClr val="4B4B4B"/>
                </a:solidFill>
                <a:latin typeface="Tahom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63852" y="1543487"/>
            <a:ext cx="4258312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aseline="0">
                <a:latin typeface="Tahoma" pitchFamily="34" charset="0"/>
              </a:defRPr>
            </a:lvl1pPr>
            <a:lvl2pPr marL="181409" indent="-18140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1600" baseline="0">
                <a:latin typeface="Tahoma" pitchFamily="34" charset="0"/>
              </a:defRPr>
            </a:lvl2pPr>
            <a:lvl3pPr marL="472960" indent="-29155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1600" baseline="0">
                <a:latin typeface="Tahoma" pitchFamily="34" charset="0"/>
              </a:defRPr>
            </a:lvl3pPr>
            <a:lvl4pPr marL="639792" indent="-1668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1600" baseline="0">
                <a:latin typeface="Tahoma" pitchFamily="34" charset="0"/>
              </a:defRPr>
            </a:lvl4pPr>
            <a:lvl5pPr marL="751553" indent="-11176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16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57089" y="1543487"/>
            <a:ext cx="4258312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aseline="0">
                <a:latin typeface="Tahoma" pitchFamily="34" charset="0"/>
              </a:defRPr>
            </a:lvl1pPr>
            <a:lvl2pPr marL="181409" indent="-18140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Tahoma" pitchFamily="34" charset="0"/>
              <a:buChar char="▪"/>
              <a:defRPr sz="1600" baseline="0">
                <a:latin typeface="Tahoma" pitchFamily="34" charset="0"/>
              </a:defRPr>
            </a:lvl2pPr>
            <a:lvl3pPr marL="472960" indent="-29155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–"/>
              <a:defRPr sz="1600" baseline="0">
                <a:latin typeface="Tahoma" pitchFamily="34" charset="0"/>
              </a:defRPr>
            </a:lvl3pPr>
            <a:lvl4pPr marL="639792" indent="-1668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▫"/>
              <a:defRPr sz="1600" baseline="0">
                <a:latin typeface="Tahoma" pitchFamily="34" charset="0"/>
              </a:defRPr>
            </a:lvl4pPr>
            <a:lvl5pPr marL="751553" indent="-11176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 typeface="Tahoma" pitchFamily="34" charset="0"/>
              <a:buChar char="-"/>
              <a:defRPr sz="16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60741" y="1146701"/>
            <a:ext cx="875466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aseline="0">
                <a:latin typeface="Tahoma" pitchFamily="34" charset="0"/>
              </a:defRPr>
            </a:lvl1pPr>
            <a:lvl2pPr marL="181409" indent="-181409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1600" baseline="0">
                <a:latin typeface="Tahoma" pitchFamily="34" charset="0"/>
              </a:defRPr>
            </a:lvl2pPr>
            <a:lvl3pPr marL="472960" indent="-291551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1600" baseline="0">
                <a:latin typeface="Tahoma" pitchFamily="34" charset="0"/>
              </a:defRPr>
            </a:lvl3pPr>
            <a:lvl4pPr marL="639792" indent="-166832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1600" baseline="0">
                <a:latin typeface="Tahoma" pitchFamily="34" charset="0"/>
              </a:defRPr>
            </a:lvl4pPr>
            <a:lvl5pPr marL="751553" indent="-111762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16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248447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7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/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/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/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/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2"/>
            <a:ext cx="8229600" cy="2506133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52400" y="233680"/>
            <a:ext cx="8991600" cy="7924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457200" y="1117602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ubtitle 8"/>
          <p:cNvSpPr txBox="1">
            <a:spLocks/>
          </p:cNvSpPr>
          <p:nvPr userDrawn="1"/>
        </p:nvSpPr>
        <p:spPr bwMode="auto">
          <a:xfrm>
            <a:off x="7556500" y="735449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0065A4"/>
              </a:solidFill>
            </a:endParaRPr>
          </a:p>
        </p:txBody>
      </p:sp>
      <p:pic>
        <p:nvPicPr>
          <p:cNvPr id="7" name="Picture 6" descr="CCRC_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9" y="91441"/>
            <a:ext cx="3149599" cy="106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446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7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>
                <a:solidFill>
                  <a:srgbClr val="FFFFFF"/>
                </a:solidFill>
              </a:defRPr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>
                <a:solidFill>
                  <a:srgbClr val="FFFFFF"/>
                </a:solidFill>
              </a:defRPr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2"/>
            <a:ext cx="8229600" cy="250613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57200" y="1117602"/>
            <a:ext cx="8229600" cy="172720"/>
          </a:xfrm>
          <a:prstGeom prst="rect">
            <a:avLst/>
          </a:prstGeom>
          <a:solidFill>
            <a:srgbClr val="A3B22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449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FFFFFF"/>
              </a:solidFill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1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1142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91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79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7" y="289999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0000"/>
                </a:solidFill>
              </a:rPr>
              <a:t>PRESENTATION TITLE IN HEADER / MONTH XX, 2012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37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0000"/>
                </a:solidFill>
              </a:rPr>
              <a:t>COMMUNITY COLLEGE RESEARCH CENTER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97345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9"/>
            <a:ext cx="8229600" cy="3851275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79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7" y="289999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plete College America GPS Meeting/ August 29, 2012</a:t>
            </a:r>
            <a:endParaRPr lang="en-US" sz="700" dirty="0">
              <a:solidFill>
                <a:srgbClr val="00539B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37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MUNITY COLLEGE RESEARCH CENTER</a:t>
            </a:r>
            <a:endParaRPr lang="en-US" sz="700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65992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0248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6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1" y="200215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49" y="200215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875049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73" y="2379665"/>
            <a:ext cx="3979863" cy="3831592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22"/>
            <a:ext cx="3979862" cy="4097339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49" y="2415329"/>
            <a:ext cx="3979333" cy="3794654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0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1" y="2415332"/>
            <a:ext cx="3979333" cy="3804815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81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284163" indent="-111125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49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346075" indent="-234950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667821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3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36" y="3108981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92114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6" y="750889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1" y="1989992"/>
            <a:ext cx="3979333" cy="422729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5" y="1981520"/>
            <a:ext cx="3995737" cy="42357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1781054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3" y="2201343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76" y="2201343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117396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49298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332546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idx="1"/>
          </p:nvPr>
        </p:nvSpPr>
        <p:spPr>
          <a:xfrm>
            <a:off x="893117" y="1946765"/>
            <a:ext cx="7358063" cy="4018359"/>
          </a:xfrm>
          <a:prstGeom prst="rect">
            <a:avLst/>
          </a:prstGeom>
        </p:spPr>
        <p:txBody>
          <a:bodyPr numCol="2" spcCol="519251" anchor="t"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18876003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4" name="Shape 5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9816201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>
            <a:spLocks noGrp="1"/>
          </p:cNvSpPr>
          <p:nvPr>
            <p:ph type="title"/>
          </p:nvPr>
        </p:nvSpPr>
        <p:spPr>
          <a:xfrm>
            <a:off x="893117" y="2089547"/>
            <a:ext cx="7358063" cy="267890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2" name="Shape 6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3813169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/>
          </p:cNvSpPr>
          <p:nvPr>
            <p:ph type="pic" sz="half" idx="13"/>
          </p:nvPr>
        </p:nvSpPr>
        <p:spPr>
          <a:xfrm>
            <a:off x="1714500" y="1151930"/>
            <a:ext cx="5715000" cy="3205758"/>
          </a:xfrm>
          <a:prstGeom prst="rect">
            <a:avLst/>
          </a:prstGeom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70" name="Shape 70"/>
          <p:cNvSpPr>
            <a:spLocks noGrp="1"/>
          </p:cNvSpPr>
          <p:nvPr>
            <p:ph type="title"/>
          </p:nvPr>
        </p:nvSpPr>
        <p:spPr>
          <a:xfrm>
            <a:off x="893117" y="5179219"/>
            <a:ext cx="7358063" cy="119657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1" name="Shape 7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2107278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 Refl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pic" sz="half" idx="13"/>
          </p:nvPr>
        </p:nvSpPr>
        <p:spPr>
          <a:xfrm>
            <a:off x="1714500" y="1151930"/>
            <a:ext cx="5715000" cy="3205758"/>
          </a:xfrm>
          <a:prstGeom prst="rect">
            <a:avLst/>
          </a:prstGeom>
          <a:ln w="25400"/>
          <a:effectLst>
            <a:reflection stA="50000" endPos="40000" dir="5400000" sy="-100000" algn="bl" rotWithShape="0"/>
          </a:effectLst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79" name="Shape 79"/>
          <p:cNvSpPr>
            <a:spLocks noGrp="1"/>
          </p:cNvSpPr>
          <p:nvPr>
            <p:ph type="title"/>
          </p:nvPr>
        </p:nvSpPr>
        <p:spPr>
          <a:xfrm>
            <a:off x="893117" y="5179219"/>
            <a:ext cx="7358063" cy="119657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0" name="Shape 8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08183195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/>
          </p:cNvSpPr>
          <p:nvPr>
            <p:ph type="pic" sz="quarter" idx="13"/>
          </p:nvPr>
        </p:nvSpPr>
        <p:spPr>
          <a:xfrm>
            <a:off x="5009555" y="1384101"/>
            <a:ext cx="2964656" cy="3955852"/>
          </a:xfrm>
          <a:prstGeom prst="rect">
            <a:avLst/>
          </a:prstGeom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88" name="Shape 88"/>
          <p:cNvSpPr>
            <a:spLocks noGrp="1"/>
          </p:cNvSpPr>
          <p:nvPr>
            <p:ph type="title"/>
          </p:nvPr>
        </p:nvSpPr>
        <p:spPr>
          <a:xfrm>
            <a:off x="446484" y="991195"/>
            <a:ext cx="4125516" cy="2321719"/>
          </a:xfrm>
          <a:prstGeom prst="rect">
            <a:avLst/>
          </a:prstGeom>
        </p:spPr>
        <p:txBody>
          <a:bodyPr anchor="b"/>
          <a:lstStyle>
            <a:lvl1pPr>
              <a:defRPr sz="4922"/>
            </a:lvl1pPr>
          </a:lstStyle>
          <a:p>
            <a:r>
              <a:t>Title Text</a:t>
            </a:r>
          </a:p>
        </p:txBody>
      </p:sp>
      <p:sp>
        <p:nvSpPr>
          <p:cNvPr id="89" name="Shape 89"/>
          <p:cNvSpPr>
            <a:spLocks noGrp="1"/>
          </p:cNvSpPr>
          <p:nvPr>
            <p:ph type="body" sz="quarter" idx="1"/>
          </p:nvPr>
        </p:nvSpPr>
        <p:spPr>
          <a:xfrm>
            <a:off x="446484" y="3366493"/>
            <a:ext cx="4125516" cy="23217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  <a:lvl2pPr marL="0" indent="0" algn="ctr">
              <a:spcBef>
                <a:spcPts val="0"/>
              </a:spcBef>
              <a:buSzTx/>
              <a:buNone/>
              <a:defRPr sz="2391"/>
            </a:lvl2pPr>
            <a:lvl3pPr marL="0" indent="0" algn="ctr">
              <a:spcBef>
                <a:spcPts val="0"/>
              </a:spcBef>
              <a:buSzTx/>
              <a:buNone/>
              <a:defRPr sz="2391"/>
            </a:lvl3pPr>
            <a:lvl4pPr marL="0" indent="0" algn="ctr">
              <a:spcBef>
                <a:spcPts val="0"/>
              </a:spcBef>
              <a:buSzTx/>
              <a:buNone/>
              <a:defRPr sz="2391"/>
            </a:lvl4pPr>
            <a:lvl5pPr marL="0" indent="0" algn="ctr">
              <a:spcBef>
                <a:spcPts val="0"/>
              </a:spcBef>
              <a:buSzTx/>
              <a:buNone/>
              <a:defRPr sz="239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0" name="Shape 9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2166169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 Refl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/>
          </p:cNvSpPr>
          <p:nvPr>
            <p:ph type="pic" sz="quarter" idx="13"/>
          </p:nvPr>
        </p:nvSpPr>
        <p:spPr>
          <a:xfrm>
            <a:off x="5009555" y="1384101"/>
            <a:ext cx="2964656" cy="3955852"/>
          </a:xfrm>
          <a:prstGeom prst="rect">
            <a:avLst/>
          </a:prstGeom>
          <a:ln w="25400"/>
          <a:effectLst>
            <a:reflection stA="50000" endPos="40000" dir="5400000" sy="-100000" algn="bl" rotWithShape="0"/>
          </a:effectLst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98" name="Shape 98"/>
          <p:cNvSpPr>
            <a:spLocks noGrp="1"/>
          </p:cNvSpPr>
          <p:nvPr>
            <p:ph type="title"/>
          </p:nvPr>
        </p:nvSpPr>
        <p:spPr>
          <a:xfrm>
            <a:off x="446484" y="991195"/>
            <a:ext cx="4125516" cy="2321719"/>
          </a:xfrm>
          <a:prstGeom prst="rect">
            <a:avLst/>
          </a:prstGeom>
        </p:spPr>
        <p:txBody>
          <a:bodyPr anchor="b"/>
          <a:lstStyle>
            <a:lvl1pPr>
              <a:defRPr sz="4922"/>
            </a:lvl1pPr>
          </a:lstStyle>
          <a:p>
            <a:r>
              <a:t>Title Text</a:t>
            </a:r>
          </a:p>
        </p:txBody>
      </p:sp>
      <p:sp>
        <p:nvSpPr>
          <p:cNvPr id="99" name="Shape 99"/>
          <p:cNvSpPr>
            <a:spLocks noGrp="1"/>
          </p:cNvSpPr>
          <p:nvPr>
            <p:ph type="body" sz="quarter" idx="1"/>
          </p:nvPr>
        </p:nvSpPr>
        <p:spPr>
          <a:xfrm>
            <a:off x="446484" y="3366493"/>
            <a:ext cx="4125516" cy="23217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  <a:lvl2pPr marL="0" indent="0" algn="ctr">
              <a:spcBef>
                <a:spcPts val="0"/>
              </a:spcBef>
              <a:buSzTx/>
              <a:buNone/>
              <a:defRPr sz="2391"/>
            </a:lvl2pPr>
            <a:lvl3pPr marL="0" indent="0" algn="ctr">
              <a:spcBef>
                <a:spcPts val="0"/>
              </a:spcBef>
              <a:buSzTx/>
              <a:buNone/>
              <a:defRPr sz="2391"/>
            </a:lvl3pPr>
            <a:lvl4pPr marL="0" indent="0" algn="ctr">
              <a:spcBef>
                <a:spcPts val="0"/>
              </a:spcBef>
              <a:buSzTx/>
              <a:buNone/>
              <a:defRPr sz="2391"/>
            </a:lvl4pPr>
            <a:lvl5pPr marL="0" indent="0" algn="ctr">
              <a:spcBef>
                <a:spcPts val="0"/>
              </a:spcBef>
              <a:buSzTx/>
              <a:buNone/>
              <a:defRPr sz="239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0" name="Shape 10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5770305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>
            <a:spLocks noGrp="1"/>
          </p:cNvSpPr>
          <p:nvPr>
            <p:ph type="pic" sz="quarter" idx="13"/>
          </p:nvPr>
        </p:nvSpPr>
        <p:spPr>
          <a:xfrm>
            <a:off x="5045273" y="2027039"/>
            <a:ext cx="2884289" cy="3848695"/>
          </a:xfrm>
          <a:prstGeom prst="rect">
            <a:avLst/>
          </a:prstGeom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108" name="Shape 10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9" name="Shape 109"/>
          <p:cNvSpPr>
            <a:spLocks noGrp="1"/>
          </p:cNvSpPr>
          <p:nvPr>
            <p:ph type="body" sz="half" idx="1"/>
          </p:nvPr>
        </p:nvSpPr>
        <p:spPr>
          <a:xfrm>
            <a:off x="892969" y="1946765"/>
            <a:ext cx="3545086" cy="4018359"/>
          </a:xfrm>
          <a:prstGeom prst="rect">
            <a:avLst/>
          </a:prstGeom>
        </p:spPr>
        <p:txBody>
          <a:bodyPr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9618163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18" name="Shape 118"/>
          <p:cNvSpPr>
            <a:spLocks noGrp="1"/>
          </p:cNvSpPr>
          <p:nvPr>
            <p:ph type="body" sz="half" idx="1"/>
          </p:nvPr>
        </p:nvSpPr>
        <p:spPr>
          <a:xfrm>
            <a:off x="892969" y="1946765"/>
            <a:ext cx="3545086" cy="4018359"/>
          </a:xfrm>
          <a:prstGeom prst="rect">
            <a:avLst/>
          </a:prstGeom>
        </p:spPr>
        <p:txBody>
          <a:bodyPr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6768161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7" name="Shape 127"/>
          <p:cNvSpPr>
            <a:spLocks noGrp="1"/>
          </p:cNvSpPr>
          <p:nvPr>
            <p:ph type="body" sz="quarter" idx="1"/>
          </p:nvPr>
        </p:nvSpPr>
        <p:spPr>
          <a:xfrm>
            <a:off x="5465117" y="1946765"/>
            <a:ext cx="2786063" cy="4018359"/>
          </a:xfrm>
          <a:prstGeom prst="rect">
            <a:avLst/>
          </a:prstGeom>
        </p:spPr>
        <p:txBody>
          <a:bodyPr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8" name="Shape 12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3597578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54" name="Shape 154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>
            <a:noAutofit/>
          </a:bodyPr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xfrm>
            <a:off x="8778262" y="6545461"/>
            <a:ext cx="255654" cy="253218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984" b="1">
                <a:solidFill>
                  <a:srgbClr val="FFFFFF">
                    <a:alpha val="70000"/>
                  </a:srgbClr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4339557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4" name="Shape 164"/>
          <p:cNvSpPr>
            <a:spLocks noGrp="1"/>
          </p:cNvSpPr>
          <p:nvPr>
            <p:ph type="sldNum" sz="quarter" idx="2"/>
          </p:nvPr>
        </p:nvSpPr>
        <p:spPr>
          <a:xfrm>
            <a:off x="4422075" y="6509743"/>
            <a:ext cx="290922" cy="29656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7367681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Shape 180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319004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181" name="Shape 181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2" name="Shape 182"/>
          <p:cNvSpPr>
            <a:spLocks noGrp="1"/>
          </p:cNvSpPr>
          <p:nvPr>
            <p:ph type="sldNum" sz="quarter" idx="2"/>
          </p:nvPr>
        </p:nvSpPr>
        <p:spPr>
          <a:xfrm>
            <a:off x="7010400" y="6254495"/>
            <a:ext cx="2133600" cy="249254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8729666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/>
          </p:cNvSpPr>
          <p:nvPr>
            <p:ph type="title"/>
          </p:nvPr>
        </p:nvSpPr>
        <p:spPr>
          <a:xfrm>
            <a:off x="669727" y="312540"/>
            <a:ext cx="7804547" cy="1518047"/>
          </a:xfrm>
          <a:prstGeom prst="rect">
            <a:avLst/>
          </a:prstGeom>
        </p:spPr>
        <p:txBody>
          <a:bodyPr/>
          <a:lstStyle>
            <a:lvl1pPr>
              <a:defRPr sz="5625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90" name="Shape 190"/>
          <p:cNvSpPr>
            <a:spLocks noGrp="1"/>
          </p:cNvSpPr>
          <p:nvPr>
            <p:ph type="body" idx="1"/>
          </p:nvPr>
        </p:nvSpPr>
        <p:spPr>
          <a:xfrm>
            <a:off x="669727" y="1830588"/>
            <a:ext cx="7804547" cy="4420195"/>
          </a:xfrm>
          <a:prstGeom prst="rect">
            <a:avLst/>
          </a:prstGeom>
        </p:spPr>
        <p:txBody>
          <a:bodyPr/>
          <a:lstStyle>
            <a:lvl1pPr marL="310160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620323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930506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240645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550835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1" name="Shape 191"/>
          <p:cNvSpPr>
            <a:spLocks noGrp="1"/>
          </p:cNvSpPr>
          <p:nvPr>
            <p:ph type="sldNum" sz="quarter" idx="2"/>
          </p:nvPr>
        </p:nvSpPr>
        <p:spPr>
          <a:xfrm>
            <a:off x="4422075" y="6505278"/>
            <a:ext cx="290922" cy="29656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9383542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Shape 198"/>
          <p:cNvSpPr>
            <a:spLocks noGrp="1"/>
          </p:cNvSpPr>
          <p:nvPr>
            <p:ph type="title"/>
          </p:nvPr>
        </p:nvSpPr>
        <p:spPr>
          <a:xfrm>
            <a:off x="685948" y="3432175"/>
            <a:ext cx="7772401" cy="1622426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2672" b="1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199" name="Shape 199"/>
          <p:cNvSpPr>
            <a:spLocks noGrp="1"/>
          </p:cNvSpPr>
          <p:nvPr>
            <p:ph type="body" sz="quarter" idx="1"/>
          </p:nvPr>
        </p:nvSpPr>
        <p:spPr>
          <a:xfrm>
            <a:off x="1371748" y="5054600"/>
            <a:ext cx="6400801" cy="18034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0" indent="0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indent="319004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indent="638042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indent="957101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indent="1276105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0" name="Shape 200"/>
          <p:cNvSpPr>
            <a:spLocks noGrp="1"/>
          </p:cNvSpPr>
          <p:nvPr>
            <p:ph type="sldNum" sz="quarter" idx="2"/>
          </p:nvPr>
        </p:nvSpPr>
        <p:spPr>
          <a:xfrm>
            <a:off x="6553200" y="6356349"/>
            <a:ext cx="2133600" cy="249254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1049359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Shape 207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319004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208" name="Shape 208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9" name="Shape 209"/>
          <p:cNvSpPr>
            <a:spLocks noGrp="1"/>
          </p:cNvSpPr>
          <p:nvPr>
            <p:ph type="sldNum" sz="quarter" idx="2"/>
          </p:nvPr>
        </p:nvSpPr>
        <p:spPr>
          <a:xfrm>
            <a:off x="7010400" y="6254495"/>
            <a:ext cx="2133600" cy="249254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42895140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Shape 216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443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17" name="Shape 217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8987" indent="-328987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1pPr>
            <a:lvl2pPr marL="632352" indent="-31334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2pPr>
            <a:lvl3pPr marL="930506" indent="-292449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3pPr>
            <a:lvl4pPr marL="1308025" indent="-35093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4pPr>
            <a:lvl5pPr marL="1627081" indent="-350939" defTabSz="319004">
              <a:spcBef>
                <a:spcPts val="492"/>
              </a:spcBef>
              <a:buSzPct val="100000"/>
              <a:buFont typeface="Arial"/>
              <a:buChar char="»"/>
              <a:defRPr sz="3094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18" name="Shape 218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1408407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443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26" name="Shape 226"/>
          <p:cNvSpPr>
            <a:spLocks noGrp="1"/>
          </p:cNvSpPr>
          <p:nvPr>
            <p:ph type="body" sz="half" idx="1"/>
          </p:nvPr>
        </p:nvSpPr>
        <p:spPr>
          <a:xfrm>
            <a:off x="457199" y="1600285"/>
            <a:ext cx="4038601" cy="5257801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Calibri"/>
                <a:ea typeface="Calibri"/>
                <a:cs typeface="Calibri"/>
                <a:sym typeface="Calibri"/>
              </a:defRPr>
            </a:lvl2pPr>
            <a:lvl3pPr marL="941141" indent="-303078" defTabSz="319004">
              <a:spcBef>
                <a:spcPts val="422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3pPr>
            <a:lvl4pPr marL="1293867" indent="-336757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Calibri"/>
                <a:ea typeface="Calibri"/>
                <a:cs typeface="Calibri"/>
                <a:sym typeface="Calibri"/>
              </a:defRPr>
            </a:lvl4pPr>
            <a:lvl5pPr marL="1612869" indent="-336757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7" name="Shape 227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8610975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722380" y="4407048"/>
            <a:ext cx="7772401" cy="1362075"/>
          </a:xfrm>
          <a:prstGeom prst="rect">
            <a:avLst/>
          </a:prstGeom>
        </p:spPr>
        <p:txBody>
          <a:bodyPr lIns="64525" tIns="64525" rIns="64525" bIns="64525" anchor="t"/>
          <a:lstStyle>
            <a:lvl1pPr algn="l" defTabSz="319004">
              <a:defRPr sz="3867" b="1" cap="all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35" name="Shape 235"/>
          <p:cNvSpPr>
            <a:spLocks noGrp="1"/>
          </p:cNvSpPr>
          <p:nvPr>
            <p:ph type="body" sz="quarter" idx="1"/>
          </p:nvPr>
        </p:nvSpPr>
        <p:spPr>
          <a:xfrm>
            <a:off x="722380" y="2906714"/>
            <a:ext cx="7772401" cy="1500188"/>
          </a:xfrm>
          <a:prstGeom prst="rect">
            <a:avLst/>
          </a:prstGeom>
        </p:spPr>
        <p:txBody>
          <a:bodyPr lIns="64525" tIns="64525" rIns="64525" bIns="64525" anchor="b"/>
          <a:lstStyle>
            <a:lvl1pPr marL="0" indent="0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319004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638042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957101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276105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6" name="Shape 236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61597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425268"/>
      </p:ext>
    </p:extLst>
  </p:cSld>
  <p:clrMapOvr>
    <a:masterClrMapping/>
  </p:clrMapOvr>
  <p:hf sldNum="0"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Shape 243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443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44" name="Shape 244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8987" indent="-328987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1pPr>
            <a:lvl2pPr marL="632352" indent="-31334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2pPr>
            <a:lvl3pPr marL="930506" indent="-292449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3pPr>
            <a:lvl4pPr marL="1308025" indent="-35093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4pPr>
            <a:lvl5pPr marL="1627081" indent="-350939" defTabSz="319004">
              <a:spcBef>
                <a:spcPts val="492"/>
              </a:spcBef>
              <a:buSzPct val="100000"/>
              <a:buFont typeface="Arial"/>
              <a:buChar char="»"/>
              <a:defRPr sz="3094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5" name="Shape 245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5097111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00" y="6387197"/>
            <a:ext cx="2133600" cy="303435"/>
          </a:xfrm>
          <a:prstGeom prst="rect">
            <a:avLst/>
          </a:prstGeom>
        </p:spPr>
        <p:txBody>
          <a:bodyPr wrap="square" lIns="64525" tIns="64525" rIns="64525" bIns="64525" anchor="ctr">
            <a:spAutoFit/>
          </a:bodyPr>
          <a:lstStyle>
            <a:lvl1pPr algn="r" defTabSz="638042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05265325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_no log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Shape 259"/>
          <p:cNvSpPr>
            <a:spLocks noGrp="1"/>
          </p:cNvSpPr>
          <p:nvPr>
            <p:ph type="title"/>
          </p:nvPr>
        </p:nvSpPr>
        <p:spPr>
          <a:xfrm>
            <a:off x="455414" y="2"/>
            <a:ext cx="8233172" cy="1423167"/>
          </a:xfrm>
          <a:prstGeom prst="rect">
            <a:avLst/>
          </a:prstGeom>
        </p:spPr>
        <p:txBody>
          <a:bodyPr lIns="37794" tIns="37794" rIns="37794" bIns="37794"/>
          <a:lstStyle>
            <a:lvl1pPr defTabSz="451974">
              <a:defRPr sz="4430"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60" name="Shape 260"/>
          <p:cNvSpPr>
            <a:spLocks noGrp="1"/>
          </p:cNvSpPr>
          <p:nvPr>
            <p:ph type="sldNum" sz="quarter" idx="2"/>
          </p:nvPr>
        </p:nvSpPr>
        <p:spPr>
          <a:xfrm>
            <a:off x="2971948" y="6477002"/>
            <a:ext cx="2057401" cy="151805"/>
          </a:xfrm>
          <a:prstGeom prst="rect">
            <a:avLst/>
          </a:prstGeom>
        </p:spPr>
        <p:txBody>
          <a:bodyPr wrap="square" lIns="37794" tIns="37794" rIns="37794" bIns="37794"/>
          <a:lstStyle>
            <a:lvl1pPr defTabSz="903903">
              <a:defRPr sz="633">
                <a:solidFill>
                  <a:srgbClr val="999999"/>
                </a:solidFill>
                <a:uFill>
                  <a:solidFill>
                    <a:srgbClr val="F1F0E7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2461916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Shape 267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68" name="Shape 268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9" name="Shape 26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976494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Shape 276"/>
          <p:cNvSpPr>
            <a:spLocks noGrp="1"/>
          </p:cNvSpPr>
          <p:nvPr>
            <p:ph type="title"/>
          </p:nvPr>
        </p:nvSpPr>
        <p:spPr>
          <a:xfrm>
            <a:off x="457199" y="131"/>
            <a:ext cx="8229603" cy="1423169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319004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277" name="Shape 277"/>
          <p:cNvSpPr>
            <a:spLocks noGrp="1"/>
          </p:cNvSpPr>
          <p:nvPr>
            <p:ph type="body" idx="1"/>
          </p:nvPr>
        </p:nvSpPr>
        <p:spPr>
          <a:xfrm>
            <a:off x="457199" y="1600285"/>
            <a:ext cx="8229603" cy="5257801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8" name="Shape 278"/>
          <p:cNvSpPr>
            <a:spLocks noGrp="1"/>
          </p:cNvSpPr>
          <p:nvPr>
            <p:ph type="sldNum" sz="quarter" idx="2"/>
          </p:nvPr>
        </p:nvSpPr>
        <p:spPr>
          <a:xfrm>
            <a:off x="8818272" y="6254496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2701248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Shape 285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/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286" name="Shape 286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/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87" name="Shape 287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39834040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Shape 294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295" name="Shape 295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>
            <a:noAutofit/>
          </a:bodyPr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6" name="Shape 296"/>
          <p:cNvSpPr>
            <a:spLocks noGrp="1"/>
          </p:cNvSpPr>
          <p:nvPr>
            <p:ph type="sldNum" sz="quarter" idx="2"/>
          </p:nvPr>
        </p:nvSpPr>
        <p:spPr>
          <a:xfrm>
            <a:off x="8778262" y="6545461"/>
            <a:ext cx="255654" cy="253218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984" b="1">
                <a:solidFill>
                  <a:srgbClr val="FFFFFF">
                    <a:alpha val="70000"/>
                  </a:srgbClr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56639447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Shape 303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304" name="Shape 304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 lIns="0" tIns="0" rIns="0" bIns="0"/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05" name="Shape 305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53956348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Shape 312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13" name="Shape 313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4" name="Shape 314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6072535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5625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322" name="Shape 322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23" name="Shape 323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999408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7AD4538-D93B-41FD-9463-C66CD05F3C7C}" type="datetime1">
              <a:rPr lang="en-US" smtClean="0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/9/2017</a:t>
            </a:fld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01556"/>
      </p:ext>
    </p:extLst>
  </p:cSld>
  <p:clrMapOvr>
    <a:masterClrMapping/>
  </p:clrMapOvr>
  <p:transition>
    <p:dissolv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Shape 339"/>
          <p:cNvSpPr>
            <a:spLocks noGrp="1"/>
          </p:cNvSpPr>
          <p:nvPr>
            <p:ph type="title"/>
          </p:nvPr>
        </p:nvSpPr>
        <p:spPr>
          <a:xfrm>
            <a:off x="457348" y="978856"/>
            <a:ext cx="8229601" cy="824176"/>
          </a:xfrm>
          <a:prstGeom prst="rect">
            <a:avLst/>
          </a:prstGeom>
        </p:spPr>
        <p:txBody>
          <a:bodyPr lIns="48403" tIns="48403" rIns="48403" bIns="48403"/>
          <a:lstStyle>
            <a:lvl1pPr algn="l" defTabSz="453716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40" name="Shape 340"/>
          <p:cNvSpPr>
            <a:spLocks noGrp="1"/>
          </p:cNvSpPr>
          <p:nvPr>
            <p:ph type="body" idx="1"/>
          </p:nvPr>
        </p:nvSpPr>
        <p:spPr>
          <a:xfrm>
            <a:off x="457348" y="2057511"/>
            <a:ext cx="8229601" cy="3123397"/>
          </a:xfrm>
          <a:prstGeom prst="rect">
            <a:avLst/>
          </a:prstGeom>
        </p:spPr>
        <p:txBody>
          <a:bodyPr lIns="48403" tIns="48403" rIns="48403" bIns="48403" anchor="t"/>
          <a:lstStyle>
            <a:lvl1pPr marL="324742" indent="-324742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453716">
              <a:spcBef>
                <a:spcPts val="633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1" name="Shape 341"/>
          <p:cNvSpPr>
            <a:spLocks noGrp="1"/>
          </p:cNvSpPr>
          <p:nvPr>
            <p:ph type="sldNum" sz="quarter" idx="2"/>
          </p:nvPr>
        </p:nvSpPr>
        <p:spPr>
          <a:xfrm>
            <a:off x="8850683" y="5548126"/>
            <a:ext cx="293319" cy="216695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r" defTabSz="453716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7290702"/>
      </p:ext>
    </p:extLst>
  </p:cSld>
  <p:clrMapOvr>
    <a:masterClrMapping/>
  </p:clrMapOvr>
  <p:transition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Shape 348"/>
          <p:cNvSpPr>
            <a:spLocks noGrp="1"/>
          </p:cNvSpPr>
          <p:nvPr>
            <p:ph type="title"/>
          </p:nvPr>
        </p:nvSpPr>
        <p:spPr>
          <a:xfrm>
            <a:off x="1684795" y="4162573"/>
            <a:ext cx="5829301" cy="1021557"/>
          </a:xfrm>
          <a:prstGeom prst="rect">
            <a:avLst/>
          </a:prstGeom>
        </p:spPr>
        <p:txBody>
          <a:bodyPr lIns="48403" tIns="48403" rIns="48403" bIns="48403" anchor="t"/>
          <a:lstStyle>
            <a:lvl1pPr algn="l" defTabSz="319004">
              <a:defRPr sz="3797" b="1" cap="all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49" name="Shape 349"/>
          <p:cNvSpPr>
            <a:spLocks noGrp="1"/>
          </p:cNvSpPr>
          <p:nvPr>
            <p:ph type="body" sz="quarter" idx="1"/>
          </p:nvPr>
        </p:nvSpPr>
        <p:spPr>
          <a:xfrm>
            <a:off x="1684795" y="3037384"/>
            <a:ext cx="5829301" cy="1125141"/>
          </a:xfrm>
          <a:prstGeom prst="rect">
            <a:avLst/>
          </a:prstGeom>
        </p:spPr>
        <p:txBody>
          <a:bodyPr lIns="48403" tIns="48403" rIns="48403" bIns="48403" anchor="b"/>
          <a:lstStyle>
            <a:lvl1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50" name="Shape 350"/>
          <p:cNvSpPr>
            <a:spLocks noGrp="1"/>
          </p:cNvSpPr>
          <p:nvPr>
            <p:ph type="sldNum" sz="quarter" idx="2"/>
          </p:nvPr>
        </p:nvSpPr>
        <p:spPr>
          <a:xfrm>
            <a:off x="1143000" y="5679406"/>
            <a:ext cx="219580" cy="216695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l" defTabSz="638042">
              <a:defRPr sz="773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7283535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Shape 357"/>
          <p:cNvSpPr>
            <a:spLocks noGrp="1"/>
          </p:cNvSpPr>
          <p:nvPr>
            <p:ph type="title"/>
          </p:nvPr>
        </p:nvSpPr>
        <p:spPr>
          <a:xfrm>
            <a:off x="457348" y="979002"/>
            <a:ext cx="8229601" cy="824177"/>
          </a:xfrm>
          <a:prstGeom prst="rect">
            <a:avLst/>
          </a:prstGeom>
        </p:spPr>
        <p:txBody>
          <a:bodyPr lIns="48403" tIns="48403" rIns="48403" bIns="48403"/>
          <a:lstStyle>
            <a:lvl1pPr algn="l" defTabSz="453716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58" name="Shape 358"/>
          <p:cNvSpPr>
            <a:spLocks noGrp="1"/>
          </p:cNvSpPr>
          <p:nvPr>
            <p:ph type="sldNum" sz="quarter" idx="2"/>
          </p:nvPr>
        </p:nvSpPr>
        <p:spPr>
          <a:xfrm>
            <a:off x="8850681" y="5548128"/>
            <a:ext cx="293319" cy="216695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r" defTabSz="453716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16237238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Shape 365"/>
          <p:cNvSpPr>
            <a:spLocks noGrp="1"/>
          </p:cNvSpPr>
          <p:nvPr>
            <p:ph type="title"/>
          </p:nvPr>
        </p:nvSpPr>
        <p:spPr>
          <a:xfrm>
            <a:off x="1486048" y="857249"/>
            <a:ext cx="6172201" cy="1067376"/>
          </a:xfrm>
          <a:prstGeom prst="rect">
            <a:avLst/>
          </a:prstGeom>
        </p:spPr>
        <p:txBody>
          <a:bodyPr lIns="48403" tIns="48403" rIns="48403" bIns="48403"/>
          <a:lstStyle>
            <a:lvl1pPr algn="l" defTabSz="319004">
              <a:defRPr sz="2531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66" name="Shape 366"/>
          <p:cNvSpPr>
            <a:spLocks noGrp="1"/>
          </p:cNvSpPr>
          <p:nvPr>
            <p:ph type="body" sz="half" idx="1"/>
          </p:nvPr>
        </p:nvSpPr>
        <p:spPr>
          <a:xfrm>
            <a:off x="1486048" y="2057484"/>
            <a:ext cx="6172201" cy="3943351"/>
          </a:xfrm>
          <a:prstGeom prst="rect">
            <a:avLst/>
          </a:prstGeom>
        </p:spPr>
        <p:txBody>
          <a:bodyPr lIns="48403" tIns="48403" rIns="48403" bIns="48403" anchor="t"/>
          <a:lstStyle>
            <a:lvl1pPr marL="307614" indent="-307614" defTabSz="319004">
              <a:spcBef>
                <a:spcPts val="422"/>
              </a:spcBef>
              <a:buSzPct val="100000"/>
              <a:buFont typeface="Arial"/>
              <a:defRPr sz="2531">
                <a:latin typeface="Verdana"/>
                <a:ea typeface="Verdana"/>
                <a:cs typeface="Verdana"/>
                <a:sym typeface="Verdana"/>
              </a:defRPr>
            </a:lvl1pPr>
            <a:lvl2pPr marL="618100" indent="-299102" defTabSz="319004">
              <a:spcBef>
                <a:spcPts val="422"/>
              </a:spcBef>
              <a:buSzPct val="100000"/>
              <a:buFont typeface="Arial"/>
              <a:buChar char="–"/>
              <a:defRPr sz="2531">
                <a:latin typeface="Verdana"/>
                <a:ea typeface="Verdana"/>
                <a:cs typeface="Verdana"/>
                <a:sym typeface="Verdana"/>
              </a:defRPr>
            </a:lvl2pPr>
            <a:lvl3pPr marL="877348" indent="-239300" defTabSz="319004">
              <a:spcBef>
                <a:spcPts val="422"/>
              </a:spcBef>
              <a:buSzPct val="100000"/>
              <a:buFont typeface="Arial"/>
              <a:defRPr sz="2531">
                <a:latin typeface="Verdana"/>
                <a:ea typeface="Verdana"/>
                <a:cs typeface="Verdana"/>
                <a:sym typeface="Verdana"/>
              </a:defRPr>
            </a:lvl3pPr>
            <a:lvl4pPr marL="1244213" indent="-287091" defTabSz="319004">
              <a:spcBef>
                <a:spcPts val="422"/>
              </a:spcBef>
              <a:buSzPct val="100000"/>
              <a:buFont typeface="Arial"/>
              <a:buChar char="–"/>
              <a:defRPr sz="2531">
                <a:latin typeface="Verdana"/>
                <a:ea typeface="Verdana"/>
                <a:cs typeface="Verdana"/>
                <a:sym typeface="Verdana"/>
              </a:defRPr>
            </a:lvl4pPr>
            <a:lvl5pPr marL="1563250" indent="-287091" defTabSz="319004">
              <a:spcBef>
                <a:spcPts val="422"/>
              </a:spcBef>
              <a:buSzPct val="100000"/>
              <a:buFont typeface="Arial"/>
              <a:buChar char="»"/>
              <a:defRPr sz="2531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67" name="Shape 367"/>
          <p:cNvSpPr>
            <a:spLocks noGrp="1"/>
          </p:cNvSpPr>
          <p:nvPr>
            <p:ph type="sldNum" sz="quarter" idx="2"/>
          </p:nvPr>
        </p:nvSpPr>
        <p:spPr>
          <a:xfrm>
            <a:off x="7742949" y="5548267"/>
            <a:ext cx="258052" cy="195150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r" defTabSz="319004">
              <a:defRPr sz="63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5695067"/>
      </p:ext>
    </p:extLst>
  </p:cSld>
  <p:clrMapOvr>
    <a:masterClrMapping/>
  </p:clrMapOvr>
  <p:transition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Shape 374"/>
          <p:cNvSpPr>
            <a:spLocks noGrp="1"/>
          </p:cNvSpPr>
          <p:nvPr>
            <p:ph type="title"/>
          </p:nvPr>
        </p:nvSpPr>
        <p:spPr>
          <a:xfrm>
            <a:off x="457348" y="162265"/>
            <a:ext cx="8229601" cy="1098901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453716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75" name="Shape 375"/>
          <p:cNvSpPr>
            <a:spLocks noGrp="1"/>
          </p:cNvSpPr>
          <p:nvPr>
            <p:ph type="body" idx="1"/>
          </p:nvPr>
        </p:nvSpPr>
        <p:spPr>
          <a:xfrm>
            <a:off x="457348" y="1600202"/>
            <a:ext cx="8229601" cy="4164529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453716">
              <a:spcBef>
                <a:spcPts val="633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6" name="Shape 376"/>
          <p:cNvSpPr>
            <a:spLocks noGrp="1"/>
          </p:cNvSpPr>
          <p:nvPr>
            <p:ph type="sldNum" sz="quarter" idx="2"/>
          </p:nvPr>
        </p:nvSpPr>
        <p:spPr>
          <a:xfrm>
            <a:off x="8818124" y="6254495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453716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1704544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 -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0" name="Shape 30"/>
          <p:cNvSpPr>
            <a:spLocks noGrp="1"/>
          </p:cNvSpPr>
          <p:nvPr>
            <p:ph type="body" idx="1"/>
          </p:nvPr>
        </p:nvSpPr>
        <p:spPr>
          <a:xfrm>
            <a:off x="893117" y="1946765"/>
            <a:ext cx="7358063" cy="4018359"/>
          </a:xfrm>
          <a:prstGeom prst="rect">
            <a:avLst/>
          </a:prstGeom>
        </p:spPr>
        <p:txBody>
          <a:bodyPr numCol="2" spcCol="519251" anchor="t"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" name="Shape 3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664067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Shape 5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4" name="Shape 5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60826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Shape 61"/>
          <p:cNvSpPr>
            <a:spLocks noGrp="1"/>
          </p:cNvSpPr>
          <p:nvPr>
            <p:ph type="title"/>
          </p:nvPr>
        </p:nvSpPr>
        <p:spPr>
          <a:xfrm>
            <a:off x="893117" y="2089547"/>
            <a:ext cx="7358063" cy="267890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2" name="Shape 6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83958832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Shape 69"/>
          <p:cNvSpPr>
            <a:spLocks noGrp="1"/>
          </p:cNvSpPr>
          <p:nvPr>
            <p:ph type="pic" sz="half" idx="13"/>
          </p:nvPr>
        </p:nvSpPr>
        <p:spPr>
          <a:xfrm>
            <a:off x="1714500" y="1151930"/>
            <a:ext cx="5715000" cy="3205758"/>
          </a:xfrm>
          <a:prstGeom prst="rect">
            <a:avLst/>
          </a:prstGeom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70" name="Shape 70"/>
          <p:cNvSpPr>
            <a:spLocks noGrp="1"/>
          </p:cNvSpPr>
          <p:nvPr>
            <p:ph type="title"/>
          </p:nvPr>
        </p:nvSpPr>
        <p:spPr>
          <a:xfrm>
            <a:off x="893117" y="5179219"/>
            <a:ext cx="7358063" cy="119657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1" name="Shape 71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0282956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Horizontal Refl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Shape 78"/>
          <p:cNvSpPr>
            <a:spLocks noGrp="1"/>
          </p:cNvSpPr>
          <p:nvPr>
            <p:ph type="pic" sz="half" idx="13"/>
          </p:nvPr>
        </p:nvSpPr>
        <p:spPr>
          <a:xfrm>
            <a:off x="1714500" y="1151930"/>
            <a:ext cx="5715000" cy="3205758"/>
          </a:xfrm>
          <a:prstGeom prst="rect">
            <a:avLst/>
          </a:prstGeom>
          <a:ln w="25400"/>
          <a:effectLst>
            <a:reflection stA="50000" endPos="40000" dir="5400000" sy="-100000" algn="bl" rotWithShape="0"/>
          </a:effectLst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79" name="Shape 79"/>
          <p:cNvSpPr>
            <a:spLocks noGrp="1"/>
          </p:cNvSpPr>
          <p:nvPr>
            <p:ph type="title"/>
          </p:nvPr>
        </p:nvSpPr>
        <p:spPr>
          <a:xfrm>
            <a:off x="893117" y="5179219"/>
            <a:ext cx="7358063" cy="119657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0" name="Shape 8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9409909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6872916-D2B9-4F6F-9C78-0E3A7C205451}" type="datetime1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3/9/2017</a:t>
            </a:fld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713303"/>
      </p:ext>
    </p:extLst>
  </p:cSld>
  <p:clrMapOvr>
    <a:masterClrMapping/>
  </p:clrMapOvr>
  <p:hf sldNum="0"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>
            <a:spLocks noGrp="1"/>
          </p:cNvSpPr>
          <p:nvPr>
            <p:ph type="pic" sz="quarter" idx="13"/>
          </p:nvPr>
        </p:nvSpPr>
        <p:spPr>
          <a:xfrm>
            <a:off x="5009555" y="1384101"/>
            <a:ext cx="2964656" cy="3955852"/>
          </a:xfrm>
          <a:prstGeom prst="rect">
            <a:avLst/>
          </a:prstGeom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88" name="Shape 88"/>
          <p:cNvSpPr>
            <a:spLocks noGrp="1"/>
          </p:cNvSpPr>
          <p:nvPr>
            <p:ph type="title"/>
          </p:nvPr>
        </p:nvSpPr>
        <p:spPr>
          <a:xfrm>
            <a:off x="446484" y="991195"/>
            <a:ext cx="4125516" cy="2321719"/>
          </a:xfrm>
          <a:prstGeom prst="rect">
            <a:avLst/>
          </a:prstGeom>
        </p:spPr>
        <p:txBody>
          <a:bodyPr anchor="b"/>
          <a:lstStyle>
            <a:lvl1pPr>
              <a:defRPr sz="4922"/>
            </a:lvl1pPr>
          </a:lstStyle>
          <a:p>
            <a:r>
              <a:t>Title Text</a:t>
            </a:r>
          </a:p>
        </p:txBody>
      </p:sp>
      <p:sp>
        <p:nvSpPr>
          <p:cNvPr id="89" name="Shape 89"/>
          <p:cNvSpPr>
            <a:spLocks noGrp="1"/>
          </p:cNvSpPr>
          <p:nvPr>
            <p:ph type="body" sz="quarter" idx="1"/>
          </p:nvPr>
        </p:nvSpPr>
        <p:spPr>
          <a:xfrm>
            <a:off x="446484" y="3366493"/>
            <a:ext cx="4125516" cy="23217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  <a:lvl2pPr marL="0" indent="0" algn="ctr">
              <a:spcBef>
                <a:spcPts val="0"/>
              </a:spcBef>
              <a:buSzTx/>
              <a:buNone/>
              <a:defRPr sz="2391"/>
            </a:lvl2pPr>
            <a:lvl3pPr marL="0" indent="0" algn="ctr">
              <a:spcBef>
                <a:spcPts val="0"/>
              </a:spcBef>
              <a:buSzTx/>
              <a:buNone/>
              <a:defRPr sz="2391"/>
            </a:lvl3pPr>
            <a:lvl4pPr marL="0" indent="0" algn="ctr">
              <a:spcBef>
                <a:spcPts val="0"/>
              </a:spcBef>
              <a:buSzTx/>
              <a:buNone/>
              <a:defRPr sz="2391"/>
            </a:lvl4pPr>
            <a:lvl5pPr marL="0" indent="0" algn="ctr">
              <a:spcBef>
                <a:spcPts val="0"/>
              </a:spcBef>
              <a:buSzTx/>
              <a:buNone/>
              <a:defRPr sz="239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0" name="Shape 9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68304512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 Refl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Shape 97"/>
          <p:cNvSpPr>
            <a:spLocks noGrp="1"/>
          </p:cNvSpPr>
          <p:nvPr>
            <p:ph type="pic" sz="quarter" idx="13"/>
          </p:nvPr>
        </p:nvSpPr>
        <p:spPr>
          <a:xfrm>
            <a:off x="5009555" y="1384101"/>
            <a:ext cx="2964656" cy="3955852"/>
          </a:xfrm>
          <a:prstGeom prst="rect">
            <a:avLst/>
          </a:prstGeom>
          <a:ln w="25400"/>
          <a:effectLst>
            <a:reflection stA="50000" endPos="40000" dir="5400000" sy="-100000" algn="bl" rotWithShape="0"/>
          </a:effectLst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98" name="Shape 98"/>
          <p:cNvSpPr>
            <a:spLocks noGrp="1"/>
          </p:cNvSpPr>
          <p:nvPr>
            <p:ph type="title"/>
          </p:nvPr>
        </p:nvSpPr>
        <p:spPr>
          <a:xfrm>
            <a:off x="446484" y="991195"/>
            <a:ext cx="4125516" cy="2321719"/>
          </a:xfrm>
          <a:prstGeom prst="rect">
            <a:avLst/>
          </a:prstGeom>
        </p:spPr>
        <p:txBody>
          <a:bodyPr anchor="b"/>
          <a:lstStyle>
            <a:lvl1pPr>
              <a:defRPr sz="4922"/>
            </a:lvl1pPr>
          </a:lstStyle>
          <a:p>
            <a:r>
              <a:t>Title Text</a:t>
            </a:r>
          </a:p>
        </p:txBody>
      </p:sp>
      <p:sp>
        <p:nvSpPr>
          <p:cNvPr id="99" name="Shape 99"/>
          <p:cNvSpPr>
            <a:spLocks noGrp="1"/>
          </p:cNvSpPr>
          <p:nvPr>
            <p:ph type="body" sz="quarter" idx="1"/>
          </p:nvPr>
        </p:nvSpPr>
        <p:spPr>
          <a:xfrm>
            <a:off x="446484" y="3366493"/>
            <a:ext cx="4125516" cy="232171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391"/>
            </a:lvl1pPr>
            <a:lvl2pPr marL="0" indent="0" algn="ctr">
              <a:spcBef>
                <a:spcPts val="0"/>
              </a:spcBef>
              <a:buSzTx/>
              <a:buNone/>
              <a:defRPr sz="2391"/>
            </a:lvl2pPr>
            <a:lvl3pPr marL="0" indent="0" algn="ctr">
              <a:spcBef>
                <a:spcPts val="0"/>
              </a:spcBef>
              <a:buSzTx/>
              <a:buNone/>
              <a:defRPr sz="2391"/>
            </a:lvl3pPr>
            <a:lvl4pPr marL="0" indent="0" algn="ctr">
              <a:spcBef>
                <a:spcPts val="0"/>
              </a:spcBef>
              <a:buSzTx/>
              <a:buNone/>
              <a:defRPr sz="2391"/>
            </a:lvl4pPr>
            <a:lvl5pPr marL="0" indent="0" algn="ctr">
              <a:spcBef>
                <a:spcPts val="0"/>
              </a:spcBef>
              <a:buSzTx/>
              <a:buNone/>
              <a:defRPr sz="239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0" name="Shape 10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80347692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Shape 107"/>
          <p:cNvSpPr>
            <a:spLocks noGrp="1"/>
          </p:cNvSpPr>
          <p:nvPr>
            <p:ph type="pic" sz="quarter" idx="13"/>
          </p:nvPr>
        </p:nvSpPr>
        <p:spPr>
          <a:xfrm>
            <a:off x="5045273" y="2027039"/>
            <a:ext cx="2884289" cy="3848695"/>
          </a:xfrm>
          <a:prstGeom prst="rect">
            <a:avLst/>
          </a:prstGeom>
        </p:spPr>
        <p:txBody>
          <a:bodyPr lIns="90761" tIns="45355" rIns="90761" bIns="45355" anchor="t">
            <a:noAutofit/>
          </a:bodyPr>
          <a:lstStyle/>
          <a:p>
            <a:endParaRPr/>
          </a:p>
        </p:txBody>
      </p:sp>
      <p:sp>
        <p:nvSpPr>
          <p:cNvPr id="108" name="Shape 10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9" name="Shape 109"/>
          <p:cNvSpPr>
            <a:spLocks noGrp="1"/>
          </p:cNvSpPr>
          <p:nvPr>
            <p:ph type="body" sz="half" idx="1"/>
          </p:nvPr>
        </p:nvSpPr>
        <p:spPr>
          <a:xfrm>
            <a:off x="892969" y="1946765"/>
            <a:ext cx="3545086" cy="4018359"/>
          </a:xfrm>
          <a:prstGeom prst="rect">
            <a:avLst/>
          </a:prstGeom>
        </p:spPr>
        <p:txBody>
          <a:bodyPr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7943797"/>
      </p:ext>
    </p:extLst>
  </p:cSld>
  <p:clrMapOvr>
    <a:masterClrMapping/>
  </p:clrMapOvr>
  <p:transition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Shape 1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18" name="Shape 118"/>
          <p:cNvSpPr>
            <a:spLocks noGrp="1"/>
          </p:cNvSpPr>
          <p:nvPr>
            <p:ph type="body" sz="half" idx="1"/>
          </p:nvPr>
        </p:nvSpPr>
        <p:spPr>
          <a:xfrm>
            <a:off x="892969" y="1946765"/>
            <a:ext cx="3545086" cy="4018359"/>
          </a:xfrm>
          <a:prstGeom prst="rect">
            <a:avLst/>
          </a:prstGeom>
        </p:spPr>
        <p:txBody>
          <a:bodyPr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9" name="Shape 11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3425186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Shape 12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7" name="Shape 127"/>
          <p:cNvSpPr>
            <a:spLocks noGrp="1"/>
          </p:cNvSpPr>
          <p:nvPr>
            <p:ph type="body" sz="quarter" idx="1"/>
          </p:nvPr>
        </p:nvSpPr>
        <p:spPr>
          <a:xfrm>
            <a:off x="5465117" y="1946765"/>
            <a:ext cx="2786063" cy="4018359"/>
          </a:xfrm>
          <a:prstGeom prst="rect">
            <a:avLst/>
          </a:prstGeom>
        </p:spPr>
        <p:txBody>
          <a:bodyPr/>
          <a:lstStyle>
            <a:lvl1pPr marL="566709" indent="-345122">
              <a:spcBef>
                <a:spcPts val="2672"/>
              </a:spcBef>
              <a:defRPr sz="2180"/>
            </a:lvl1pPr>
            <a:lvl2pPr marL="876870" indent="-345122">
              <a:spcBef>
                <a:spcPts val="2672"/>
              </a:spcBef>
              <a:defRPr sz="2180"/>
            </a:lvl2pPr>
            <a:lvl3pPr marL="1187029" indent="-345122">
              <a:spcBef>
                <a:spcPts val="2672"/>
              </a:spcBef>
              <a:defRPr sz="2180"/>
            </a:lvl3pPr>
            <a:lvl4pPr marL="1497193" indent="-345122">
              <a:spcBef>
                <a:spcPts val="2672"/>
              </a:spcBef>
              <a:defRPr sz="2180"/>
            </a:lvl4pPr>
            <a:lvl5pPr marL="1807376" indent="-345122">
              <a:spcBef>
                <a:spcPts val="2672"/>
              </a:spcBef>
              <a:defRPr sz="218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28" name="Shape 12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6721968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/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36" name="Shape 136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/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7" name="Shape 137"/>
          <p:cNvSpPr>
            <a:spLocks noGrp="1"/>
          </p:cNvSpPr>
          <p:nvPr>
            <p:ph type="sldNum" sz="quarter" idx="2"/>
          </p:nvPr>
        </p:nvSpPr>
        <p:spPr>
          <a:xfrm>
            <a:off x="8814530" y="6545461"/>
            <a:ext cx="219386" cy="219616"/>
          </a:xfrm>
          <a:prstGeom prst="rect">
            <a:avLst/>
          </a:prstGeom>
        </p:spPr>
        <p:txBody>
          <a:bodyPr/>
          <a:lstStyle>
            <a:lvl1pPr algn="r">
              <a:defRPr sz="984" b="1">
                <a:solidFill>
                  <a:srgbClr val="FFFFFF">
                    <a:alpha val="70000"/>
                  </a:srgbClr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447774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54" name="Shape 154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>
            <a:noAutofit/>
          </a:bodyPr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55" name="Shape 155"/>
          <p:cNvSpPr>
            <a:spLocks noGrp="1"/>
          </p:cNvSpPr>
          <p:nvPr>
            <p:ph type="sldNum" sz="quarter" idx="2"/>
          </p:nvPr>
        </p:nvSpPr>
        <p:spPr>
          <a:xfrm>
            <a:off x="8778262" y="6545461"/>
            <a:ext cx="255654" cy="253218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984" b="1">
                <a:solidFill>
                  <a:srgbClr val="FFFFFF">
                    <a:alpha val="70000"/>
                  </a:srgbClr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4822556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63" name="Shape 163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4" name="Shape 164"/>
          <p:cNvSpPr>
            <a:spLocks noGrp="1"/>
          </p:cNvSpPr>
          <p:nvPr>
            <p:ph type="sldNum" sz="quarter" idx="2"/>
          </p:nvPr>
        </p:nvSpPr>
        <p:spPr>
          <a:xfrm>
            <a:off x="4422075" y="6509743"/>
            <a:ext cx="290922" cy="29656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8251531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" name="Shape 180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319004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181" name="Shape 181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2" name="Shape 182"/>
          <p:cNvSpPr>
            <a:spLocks noGrp="1"/>
          </p:cNvSpPr>
          <p:nvPr>
            <p:ph type="sldNum" sz="quarter" idx="2"/>
          </p:nvPr>
        </p:nvSpPr>
        <p:spPr>
          <a:xfrm>
            <a:off x="7010400" y="6254495"/>
            <a:ext cx="2133600" cy="249254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0566103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Shape 189"/>
          <p:cNvSpPr>
            <a:spLocks noGrp="1"/>
          </p:cNvSpPr>
          <p:nvPr>
            <p:ph type="title"/>
          </p:nvPr>
        </p:nvSpPr>
        <p:spPr>
          <a:xfrm>
            <a:off x="669727" y="312540"/>
            <a:ext cx="7804547" cy="1518047"/>
          </a:xfrm>
          <a:prstGeom prst="rect">
            <a:avLst/>
          </a:prstGeom>
        </p:spPr>
        <p:txBody>
          <a:bodyPr/>
          <a:lstStyle>
            <a:lvl1pPr>
              <a:defRPr sz="5625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190" name="Shape 190"/>
          <p:cNvSpPr>
            <a:spLocks noGrp="1"/>
          </p:cNvSpPr>
          <p:nvPr>
            <p:ph type="body" idx="1"/>
          </p:nvPr>
        </p:nvSpPr>
        <p:spPr>
          <a:xfrm>
            <a:off x="669727" y="1830588"/>
            <a:ext cx="7804547" cy="4420195"/>
          </a:xfrm>
          <a:prstGeom prst="rect">
            <a:avLst/>
          </a:prstGeom>
        </p:spPr>
        <p:txBody>
          <a:bodyPr/>
          <a:lstStyle>
            <a:lvl1pPr marL="310160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620323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930506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240645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550835" indent="-310160">
              <a:spcBef>
                <a:spcPts val="2953"/>
              </a:spcBef>
              <a:buSzPct val="75000"/>
              <a:defRPr sz="2531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1" name="Shape 191"/>
          <p:cNvSpPr>
            <a:spLocks noGrp="1"/>
          </p:cNvSpPr>
          <p:nvPr>
            <p:ph type="sldNum" sz="quarter" idx="2"/>
          </p:nvPr>
        </p:nvSpPr>
        <p:spPr>
          <a:xfrm>
            <a:off x="4422075" y="6505278"/>
            <a:ext cx="290922" cy="29656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04896362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915119"/>
      </p:ext>
    </p:extLst>
  </p:cSld>
  <p:clrMapOvr>
    <a:masterClrMapping/>
  </p:clrMapOvr>
  <p:hf sldNum="0"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Shape 198"/>
          <p:cNvSpPr>
            <a:spLocks noGrp="1"/>
          </p:cNvSpPr>
          <p:nvPr>
            <p:ph type="title"/>
          </p:nvPr>
        </p:nvSpPr>
        <p:spPr>
          <a:xfrm>
            <a:off x="685948" y="3432175"/>
            <a:ext cx="7772401" cy="1622426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2672" b="1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199" name="Shape 199"/>
          <p:cNvSpPr>
            <a:spLocks noGrp="1"/>
          </p:cNvSpPr>
          <p:nvPr>
            <p:ph type="body" sz="quarter" idx="1"/>
          </p:nvPr>
        </p:nvSpPr>
        <p:spPr>
          <a:xfrm>
            <a:off x="1371748" y="5054600"/>
            <a:ext cx="6400801" cy="18034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0" indent="0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0" indent="319004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0" indent="638042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0" indent="957101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0" indent="1276105" algn="ctr" defTabSz="319004">
              <a:spcBef>
                <a:spcPts val="422"/>
              </a:spcBef>
              <a:buSzTx/>
              <a:buNone/>
              <a:defRPr sz="2672">
                <a:solidFill>
                  <a:srgbClr val="262F3F"/>
                </a:solidFill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0" name="Shape 200"/>
          <p:cNvSpPr>
            <a:spLocks noGrp="1"/>
          </p:cNvSpPr>
          <p:nvPr>
            <p:ph type="sldNum" sz="quarter" idx="2"/>
          </p:nvPr>
        </p:nvSpPr>
        <p:spPr>
          <a:xfrm>
            <a:off x="6553200" y="6356349"/>
            <a:ext cx="2133600" cy="249254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7445235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Shape 207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319004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208" name="Shape 208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09" name="Shape 209"/>
          <p:cNvSpPr>
            <a:spLocks noGrp="1"/>
          </p:cNvSpPr>
          <p:nvPr>
            <p:ph type="sldNum" sz="quarter" idx="2"/>
          </p:nvPr>
        </p:nvSpPr>
        <p:spPr>
          <a:xfrm>
            <a:off x="7010400" y="6254495"/>
            <a:ext cx="2133600" cy="249254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53714125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Shape 216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443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17" name="Shape 217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8987" indent="-328987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1pPr>
            <a:lvl2pPr marL="632352" indent="-31334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2pPr>
            <a:lvl3pPr marL="930506" indent="-292449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3pPr>
            <a:lvl4pPr marL="1308025" indent="-35093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4pPr>
            <a:lvl5pPr marL="1627081" indent="-350939" defTabSz="319004">
              <a:spcBef>
                <a:spcPts val="492"/>
              </a:spcBef>
              <a:buSzPct val="100000"/>
              <a:buFont typeface="Arial"/>
              <a:buChar char="»"/>
              <a:defRPr sz="3094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18" name="Shape 218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8459497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443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26" name="Shape 226"/>
          <p:cNvSpPr>
            <a:spLocks noGrp="1"/>
          </p:cNvSpPr>
          <p:nvPr>
            <p:ph type="body" sz="half" idx="1"/>
          </p:nvPr>
        </p:nvSpPr>
        <p:spPr>
          <a:xfrm>
            <a:off x="457199" y="1600285"/>
            <a:ext cx="4038601" cy="5257801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Calibri"/>
                <a:ea typeface="Calibri"/>
                <a:cs typeface="Calibri"/>
                <a:sym typeface="Calibri"/>
              </a:defRPr>
            </a:lvl2pPr>
            <a:lvl3pPr marL="941141" indent="-303078" defTabSz="319004">
              <a:spcBef>
                <a:spcPts val="422"/>
              </a:spcBef>
              <a:buSzPct val="100000"/>
              <a:buFont typeface="Arial"/>
              <a:defRPr sz="2672">
                <a:latin typeface="Calibri"/>
                <a:ea typeface="Calibri"/>
                <a:cs typeface="Calibri"/>
                <a:sym typeface="Calibri"/>
              </a:defRPr>
            </a:lvl3pPr>
            <a:lvl4pPr marL="1293867" indent="-336757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Calibri"/>
                <a:ea typeface="Calibri"/>
                <a:cs typeface="Calibri"/>
                <a:sym typeface="Calibri"/>
              </a:defRPr>
            </a:lvl4pPr>
            <a:lvl5pPr marL="1612869" indent="-336757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27" name="Shape 227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951693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>
            <a:spLocks noGrp="1"/>
          </p:cNvSpPr>
          <p:nvPr>
            <p:ph type="title"/>
          </p:nvPr>
        </p:nvSpPr>
        <p:spPr>
          <a:xfrm>
            <a:off x="722380" y="4407048"/>
            <a:ext cx="7772401" cy="1362075"/>
          </a:xfrm>
          <a:prstGeom prst="rect">
            <a:avLst/>
          </a:prstGeom>
        </p:spPr>
        <p:txBody>
          <a:bodyPr lIns="64525" tIns="64525" rIns="64525" bIns="64525" anchor="t"/>
          <a:lstStyle>
            <a:lvl1pPr algn="l" defTabSz="319004">
              <a:defRPr sz="3867" b="1" cap="all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35" name="Shape 235"/>
          <p:cNvSpPr>
            <a:spLocks noGrp="1"/>
          </p:cNvSpPr>
          <p:nvPr>
            <p:ph type="body" sz="quarter" idx="1"/>
          </p:nvPr>
        </p:nvSpPr>
        <p:spPr>
          <a:xfrm>
            <a:off x="722380" y="2906714"/>
            <a:ext cx="7772401" cy="1500188"/>
          </a:xfrm>
          <a:prstGeom prst="rect">
            <a:avLst/>
          </a:prstGeom>
        </p:spPr>
        <p:txBody>
          <a:bodyPr lIns="64525" tIns="64525" rIns="64525" bIns="64525" anchor="b"/>
          <a:lstStyle>
            <a:lvl1pPr marL="0" indent="0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319004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638042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957101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276105" defTabSz="319004">
              <a:spcBef>
                <a:spcPts val="281"/>
              </a:spcBef>
              <a:buSzTx/>
              <a:buNone/>
              <a:defRPr sz="1969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6" name="Shape 236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17880958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Shape 243"/>
          <p:cNvSpPr>
            <a:spLocks noGrp="1"/>
          </p:cNvSpPr>
          <p:nvPr>
            <p:ph type="title"/>
          </p:nvPr>
        </p:nvSpPr>
        <p:spPr>
          <a:xfrm>
            <a:off x="457348" y="0"/>
            <a:ext cx="8229601" cy="1423168"/>
          </a:xfrm>
          <a:prstGeom prst="rect">
            <a:avLst/>
          </a:prstGeom>
        </p:spPr>
        <p:txBody>
          <a:bodyPr lIns="64525" tIns="64525" rIns="64525" bIns="64525"/>
          <a:lstStyle>
            <a:lvl1pPr defTabSz="319004">
              <a:defRPr sz="443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44" name="Shape 244"/>
          <p:cNvSpPr>
            <a:spLocks noGrp="1"/>
          </p:cNvSpPr>
          <p:nvPr>
            <p:ph type="body" idx="1"/>
          </p:nvPr>
        </p:nvSpPr>
        <p:spPr>
          <a:xfrm>
            <a:off x="457348" y="1600201"/>
            <a:ext cx="8229601" cy="5257800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8987" indent="-328987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1pPr>
            <a:lvl2pPr marL="632352" indent="-31334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2pPr>
            <a:lvl3pPr marL="930506" indent="-292449" defTabSz="319004">
              <a:spcBef>
                <a:spcPts val="492"/>
              </a:spcBef>
              <a:buSzPct val="100000"/>
              <a:buFont typeface="Arial"/>
              <a:defRPr sz="3094">
                <a:latin typeface="Calibri"/>
                <a:ea typeface="Calibri"/>
                <a:cs typeface="Calibri"/>
                <a:sym typeface="Calibri"/>
              </a:defRPr>
            </a:lvl3pPr>
            <a:lvl4pPr marL="1308025" indent="-350939" defTabSz="319004">
              <a:spcBef>
                <a:spcPts val="492"/>
              </a:spcBef>
              <a:buSzPct val="100000"/>
              <a:buFont typeface="Arial"/>
              <a:buChar char="–"/>
              <a:defRPr sz="3094">
                <a:latin typeface="Calibri"/>
                <a:ea typeface="Calibri"/>
                <a:cs typeface="Calibri"/>
                <a:sym typeface="Calibri"/>
              </a:defRPr>
            </a:lvl4pPr>
            <a:lvl5pPr marL="1627081" indent="-350939" defTabSz="319004">
              <a:spcBef>
                <a:spcPts val="492"/>
              </a:spcBef>
              <a:buSzPct val="100000"/>
              <a:buFont typeface="Arial"/>
              <a:buChar char="»"/>
              <a:defRPr sz="3094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5" name="Shape 245"/>
          <p:cNvSpPr>
            <a:spLocks noGrp="1"/>
          </p:cNvSpPr>
          <p:nvPr>
            <p:ph type="sldNum" sz="quarter" idx="2"/>
          </p:nvPr>
        </p:nvSpPr>
        <p:spPr>
          <a:xfrm>
            <a:off x="55" y="6429690"/>
            <a:ext cx="2133601" cy="281762"/>
          </a:xfrm>
          <a:prstGeom prst="rect">
            <a:avLst/>
          </a:prstGeom>
        </p:spPr>
        <p:txBody>
          <a:bodyPr wrap="square" lIns="64525" tIns="64525" rIns="64525" bIns="64525">
            <a:spAutoFit/>
          </a:bodyPr>
          <a:lstStyle>
            <a:lvl1pPr algn="l" defTabSz="638042">
              <a:defRPr sz="984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8351644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00" y="6387197"/>
            <a:ext cx="2133600" cy="303435"/>
          </a:xfrm>
          <a:prstGeom prst="rect">
            <a:avLst/>
          </a:prstGeom>
        </p:spPr>
        <p:txBody>
          <a:bodyPr wrap="square" lIns="64525" tIns="64525" rIns="64525" bIns="64525" anchor="ctr">
            <a:spAutoFit/>
          </a:bodyPr>
          <a:lstStyle>
            <a:lvl1pPr algn="r" defTabSz="638042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0807193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_no logo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Shape 259"/>
          <p:cNvSpPr>
            <a:spLocks noGrp="1"/>
          </p:cNvSpPr>
          <p:nvPr>
            <p:ph type="title"/>
          </p:nvPr>
        </p:nvSpPr>
        <p:spPr>
          <a:xfrm>
            <a:off x="455414" y="2"/>
            <a:ext cx="8233172" cy="1423167"/>
          </a:xfrm>
          <a:prstGeom prst="rect">
            <a:avLst/>
          </a:prstGeom>
        </p:spPr>
        <p:txBody>
          <a:bodyPr lIns="37794" tIns="37794" rIns="37794" bIns="37794"/>
          <a:lstStyle>
            <a:lvl1pPr defTabSz="451974">
              <a:defRPr sz="4430">
                <a:uFill>
                  <a:solidFill>
                    <a:srgbClr val="000000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60" name="Shape 260"/>
          <p:cNvSpPr>
            <a:spLocks noGrp="1"/>
          </p:cNvSpPr>
          <p:nvPr>
            <p:ph type="sldNum" sz="quarter" idx="2"/>
          </p:nvPr>
        </p:nvSpPr>
        <p:spPr>
          <a:xfrm>
            <a:off x="2971948" y="6477002"/>
            <a:ext cx="2057401" cy="151805"/>
          </a:xfrm>
          <a:prstGeom prst="rect">
            <a:avLst/>
          </a:prstGeom>
        </p:spPr>
        <p:txBody>
          <a:bodyPr wrap="square" lIns="37794" tIns="37794" rIns="37794" bIns="37794"/>
          <a:lstStyle>
            <a:lvl1pPr defTabSz="903903">
              <a:defRPr sz="633">
                <a:solidFill>
                  <a:srgbClr val="999999"/>
                </a:solidFill>
                <a:uFill>
                  <a:solidFill>
                    <a:srgbClr val="F1F0E7"/>
                  </a:solidFill>
                </a:u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4434166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Shape 267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68" name="Shape 268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9" name="Shape 26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7803218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Shape 276"/>
          <p:cNvSpPr>
            <a:spLocks noGrp="1"/>
          </p:cNvSpPr>
          <p:nvPr>
            <p:ph type="title"/>
          </p:nvPr>
        </p:nvSpPr>
        <p:spPr>
          <a:xfrm>
            <a:off x="457199" y="131"/>
            <a:ext cx="8229603" cy="1423169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319004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277" name="Shape 277"/>
          <p:cNvSpPr>
            <a:spLocks noGrp="1"/>
          </p:cNvSpPr>
          <p:nvPr>
            <p:ph type="body" idx="1"/>
          </p:nvPr>
        </p:nvSpPr>
        <p:spPr>
          <a:xfrm>
            <a:off x="457199" y="1600285"/>
            <a:ext cx="8229603" cy="5257801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319004">
              <a:spcBef>
                <a:spcPts val="422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319004">
              <a:spcBef>
                <a:spcPts val="422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319004">
              <a:spcBef>
                <a:spcPts val="422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8" name="Shape 278"/>
          <p:cNvSpPr>
            <a:spLocks noGrp="1"/>
          </p:cNvSpPr>
          <p:nvPr>
            <p:ph type="sldNum" sz="quarter" idx="2"/>
          </p:nvPr>
        </p:nvSpPr>
        <p:spPr>
          <a:xfrm>
            <a:off x="8818272" y="6254496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0850827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344763"/>
      </p:ext>
    </p:extLst>
  </p:cSld>
  <p:clrMapOvr>
    <a:masterClrMapping/>
  </p:clrMapOvr>
  <p:hf sldNum="0" hdr="0" ft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Shape 285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/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286" name="Shape 286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/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87" name="Shape 287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85573806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Shape 294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295" name="Shape 295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>
            <a:noAutofit/>
          </a:bodyPr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6" name="Shape 296"/>
          <p:cNvSpPr>
            <a:spLocks noGrp="1"/>
          </p:cNvSpPr>
          <p:nvPr>
            <p:ph type="sldNum" sz="quarter" idx="2"/>
          </p:nvPr>
        </p:nvSpPr>
        <p:spPr>
          <a:xfrm>
            <a:off x="8778262" y="6545461"/>
            <a:ext cx="255654" cy="253218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984" b="1">
                <a:solidFill>
                  <a:srgbClr val="FFFFFF">
                    <a:alpha val="70000"/>
                  </a:srgbClr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1472493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&amp; Bullets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Shape 303"/>
          <p:cNvSpPr>
            <a:spLocks noGrp="1"/>
          </p:cNvSpPr>
          <p:nvPr>
            <p:ph type="title"/>
          </p:nvPr>
        </p:nvSpPr>
        <p:spPr>
          <a:xfrm>
            <a:off x="553641" y="178594"/>
            <a:ext cx="8036719" cy="17145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5133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304" name="Shape 304"/>
          <p:cNvSpPr>
            <a:spLocks noGrp="1"/>
          </p:cNvSpPr>
          <p:nvPr>
            <p:ph type="body" idx="1"/>
          </p:nvPr>
        </p:nvSpPr>
        <p:spPr>
          <a:xfrm>
            <a:off x="553641" y="1946765"/>
            <a:ext cx="8036719" cy="4018359"/>
          </a:xfrm>
          <a:prstGeom prst="rect">
            <a:avLst/>
          </a:prstGeom>
        </p:spPr>
        <p:txBody>
          <a:bodyPr lIns="0" tIns="0" rIns="0" bIns="0"/>
          <a:lstStyle>
            <a:lvl1pPr marL="283635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1pPr>
            <a:lvl2pPr marL="593712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2pPr>
            <a:lvl3pPr marL="903903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3pPr>
            <a:lvl4pPr marL="1214108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4pPr>
            <a:lvl5pPr marL="1524291" indent="-283635">
              <a:spcBef>
                <a:spcPts val="1687"/>
              </a:spcBef>
              <a:buSzPct val="30000"/>
              <a:buBlip>
                <a:blip r:embed="rId3"/>
              </a:buBlip>
              <a:defRPr sz="2531">
                <a:solidFill>
                  <a:srgbClr val="FFFFFF"/>
                </a:solidFill>
                <a:effectLst>
                  <a:outerShdw blurRad="50800" dist="38100" dir="5400000" rotWithShape="0">
                    <a:srgbClr val="000000"/>
                  </a:outerShdw>
                </a:effectLst>
                <a:latin typeface="+mn-lt"/>
                <a:ea typeface="+mn-ea"/>
                <a:cs typeface="+mn-cs"/>
                <a:sym typeface="Helvetica Neue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05" name="Shape 305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1662472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&amp; Sub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Shape 312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13" name="Shape 313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1pPr>
            <a:lvl2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2pPr>
            <a:lvl3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3pPr>
            <a:lvl4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4pPr>
            <a:lvl5pPr marL="0" indent="0" algn="ctr">
              <a:spcBef>
                <a:spcPts val="0"/>
              </a:spcBef>
              <a:buSzTx/>
              <a:buNone/>
              <a:defRPr sz="2531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4" name="Shape 314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56970429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Shape 321"/>
          <p:cNvSpPr>
            <a:spLocks noGrp="1"/>
          </p:cNvSpPr>
          <p:nvPr>
            <p:ph type="title"/>
          </p:nvPr>
        </p:nvSpPr>
        <p:spPr>
          <a:xfrm>
            <a:off x="893117" y="1151930"/>
            <a:ext cx="7358063" cy="232171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5625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322" name="Shape 322"/>
          <p:cNvSpPr>
            <a:spLocks noGrp="1"/>
          </p:cNvSpPr>
          <p:nvPr>
            <p:ph type="body" sz="quarter" idx="1"/>
          </p:nvPr>
        </p:nvSpPr>
        <p:spPr>
          <a:xfrm>
            <a:off x="893117" y="3536156"/>
            <a:ext cx="7358063" cy="794742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0" indent="0" algn="ctr">
              <a:spcBef>
                <a:spcPts val="0"/>
              </a:spcBef>
              <a:buSzTx/>
              <a:buNone/>
              <a:defRPr sz="218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23" name="Shape 323"/>
          <p:cNvSpPr>
            <a:spLocks noGrp="1"/>
          </p:cNvSpPr>
          <p:nvPr>
            <p:ph type="sldNum" sz="quarter" idx="2"/>
          </p:nvPr>
        </p:nvSpPr>
        <p:spPr>
          <a:xfrm>
            <a:off x="6227472" y="6356350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319004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0176888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Shape 339"/>
          <p:cNvSpPr>
            <a:spLocks noGrp="1"/>
          </p:cNvSpPr>
          <p:nvPr>
            <p:ph type="title"/>
          </p:nvPr>
        </p:nvSpPr>
        <p:spPr>
          <a:xfrm>
            <a:off x="457348" y="978856"/>
            <a:ext cx="8229601" cy="824176"/>
          </a:xfrm>
          <a:prstGeom prst="rect">
            <a:avLst/>
          </a:prstGeom>
        </p:spPr>
        <p:txBody>
          <a:bodyPr lIns="48403" tIns="48403" rIns="48403" bIns="48403"/>
          <a:lstStyle>
            <a:lvl1pPr algn="l" defTabSz="453716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40" name="Shape 340"/>
          <p:cNvSpPr>
            <a:spLocks noGrp="1"/>
          </p:cNvSpPr>
          <p:nvPr>
            <p:ph type="body" idx="1"/>
          </p:nvPr>
        </p:nvSpPr>
        <p:spPr>
          <a:xfrm>
            <a:off x="457348" y="2057511"/>
            <a:ext cx="8229601" cy="3123397"/>
          </a:xfrm>
          <a:prstGeom prst="rect">
            <a:avLst/>
          </a:prstGeom>
        </p:spPr>
        <p:txBody>
          <a:bodyPr lIns="48403" tIns="48403" rIns="48403" bIns="48403" anchor="t"/>
          <a:lstStyle>
            <a:lvl1pPr marL="324742" indent="-324742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453716">
              <a:spcBef>
                <a:spcPts val="633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1" name="Shape 341"/>
          <p:cNvSpPr>
            <a:spLocks noGrp="1"/>
          </p:cNvSpPr>
          <p:nvPr>
            <p:ph type="sldNum" sz="quarter" idx="2"/>
          </p:nvPr>
        </p:nvSpPr>
        <p:spPr>
          <a:xfrm>
            <a:off x="8850683" y="5548126"/>
            <a:ext cx="293319" cy="216695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r" defTabSz="453716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7210038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Shape 348"/>
          <p:cNvSpPr>
            <a:spLocks noGrp="1"/>
          </p:cNvSpPr>
          <p:nvPr>
            <p:ph type="title"/>
          </p:nvPr>
        </p:nvSpPr>
        <p:spPr>
          <a:xfrm>
            <a:off x="1684795" y="4162573"/>
            <a:ext cx="5829301" cy="1021557"/>
          </a:xfrm>
          <a:prstGeom prst="rect">
            <a:avLst/>
          </a:prstGeom>
        </p:spPr>
        <p:txBody>
          <a:bodyPr lIns="48403" tIns="48403" rIns="48403" bIns="48403" anchor="t"/>
          <a:lstStyle>
            <a:lvl1pPr algn="l" defTabSz="319004">
              <a:defRPr sz="3797" b="1" cap="all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49" name="Shape 349"/>
          <p:cNvSpPr>
            <a:spLocks noGrp="1"/>
          </p:cNvSpPr>
          <p:nvPr>
            <p:ph type="body" sz="quarter" idx="1"/>
          </p:nvPr>
        </p:nvSpPr>
        <p:spPr>
          <a:xfrm>
            <a:off x="1684795" y="3037384"/>
            <a:ext cx="5829301" cy="1125141"/>
          </a:xfrm>
          <a:prstGeom prst="rect">
            <a:avLst/>
          </a:prstGeom>
        </p:spPr>
        <p:txBody>
          <a:bodyPr lIns="48403" tIns="48403" rIns="48403" bIns="48403" anchor="b"/>
          <a:lstStyle>
            <a:lvl1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0" defTabSz="319004">
              <a:spcBef>
                <a:spcPts val="281"/>
              </a:spcBef>
              <a:buSzTx/>
              <a:buNone/>
              <a:defRPr sz="1828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50" name="Shape 350"/>
          <p:cNvSpPr>
            <a:spLocks noGrp="1"/>
          </p:cNvSpPr>
          <p:nvPr>
            <p:ph type="sldNum" sz="quarter" idx="2"/>
          </p:nvPr>
        </p:nvSpPr>
        <p:spPr>
          <a:xfrm>
            <a:off x="1143000" y="5679406"/>
            <a:ext cx="219580" cy="216695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l" defTabSz="638042">
              <a:defRPr sz="773">
                <a:solidFill>
                  <a:srgbClr val="EEECE1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632879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" name="Shape 357"/>
          <p:cNvSpPr>
            <a:spLocks noGrp="1"/>
          </p:cNvSpPr>
          <p:nvPr>
            <p:ph type="title"/>
          </p:nvPr>
        </p:nvSpPr>
        <p:spPr>
          <a:xfrm>
            <a:off x="457348" y="979002"/>
            <a:ext cx="8229601" cy="824177"/>
          </a:xfrm>
          <a:prstGeom prst="rect">
            <a:avLst/>
          </a:prstGeom>
        </p:spPr>
        <p:txBody>
          <a:bodyPr lIns="48403" tIns="48403" rIns="48403" bIns="48403"/>
          <a:lstStyle>
            <a:lvl1pPr algn="l" defTabSz="453716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58" name="Shape 358"/>
          <p:cNvSpPr>
            <a:spLocks noGrp="1"/>
          </p:cNvSpPr>
          <p:nvPr>
            <p:ph type="sldNum" sz="quarter" idx="2"/>
          </p:nvPr>
        </p:nvSpPr>
        <p:spPr>
          <a:xfrm>
            <a:off x="8850681" y="5548128"/>
            <a:ext cx="293319" cy="216695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r" defTabSz="453716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48879043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" name="Shape 365"/>
          <p:cNvSpPr>
            <a:spLocks noGrp="1"/>
          </p:cNvSpPr>
          <p:nvPr>
            <p:ph type="title"/>
          </p:nvPr>
        </p:nvSpPr>
        <p:spPr>
          <a:xfrm>
            <a:off x="1486048" y="857249"/>
            <a:ext cx="6172201" cy="1067376"/>
          </a:xfrm>
          <a:prstGeom prst="rect">
            <a:avLst/>
          </a:prstGeom>
        </p:spPr>
        <p:txBody>
          <a:bodyPr lIns="48403" tIns="48403" rIns="48403" bIns="48403"/>
          <a:lstStyle>
            <a:lvl1pPr algn="l" defTabSz="319004">
              <a:defRPr sz="2531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66" name="Shape 366"/>
          <p:cNvSpPr>
            <a:spLocks noGrp="1"/>
          </p:cNvSpPr>
          <p:nvPr>
            <p:ph type="body" sz="half" idx="1"/>
          </p:nvPr>
        </p:nvSpPr>
        <p:spPr>
          <a:xfrm>
            <a:off x="1486048" y="2057484"/>
            <a:ext cx="6172201" cy="3943351"/>
          </a:xfrm>
          <a:prstGeom prst="rect">
            <a:avLst/>
          </a:prstGeom>
        </p:spPr>
        <p:txBody>
          <a:bodyPr lIns="48403" tIns="48403" rIns="48403" bIns="48403" anchor="t"/>
          <a:lstStyle>
            <a:lvl1pPr marL="307614" indent="-307614" defTabSz="319004">
              <a:spcBef>
                <a:spcPts val="422"/>
              </a:spcBef>
              <a:buSzPct val="100000"/>
              <a:buFont typeface="Arial"/>
              <a:defRPr sz="2531">
                <a:latin typeface="Verdana"/>
                <a:ea typeface="Verdana"/>
                <a:cs typeface="Verdana"/>
                <a:sym typeface="Verdana"/>
              </a:defRPr>
            </a:lvl1pPr>
            <a:lvl2pPr marL="618100" indent="-299102" defTabSz="319004">
              <a:spcBef>
                <a:spcPts val="422"/>
              </a:spcBef>
              <a:buSzPct val="100000"/>
              <a:buFont typeface="Arial"/>
              <a:buChar char="–"/>
              <a:defRPr sz="2531">
                <a:latin typeface="Verdana"/>
                <a:ea typeface="Verdana"/>
                <a:cs typeface="Verdana"/>
                <a:sym typeface="Verdana"/>
              </a:defRPr>
            </a:lvl2pPr>
            <a:lvl3pPr marL="877348" indent="-239300" defTabSz="319004">
              <a:spcBef>
                <a:spcPts val="422"/>
              </a:spcBef>
              <a:buSzPct val="100000"/>
              <a:buFont typeface="Arial"/>
              <a:defRPr sz="2531">
                <a:latin typeface="Verdana"/>
                <a:ea typeface="Verdana"/>
                <a:cs typeface="Verdana"/>
                <a:sym typeface="Verdana"/>
              </a:defRPr>
            </a:lvl3pPr>
            <a:lvl4pPr marL="1244213" indent="-287091" defTabSz="319004">
              <a:spcBef>
                <a:spcPts val="422"/>
              </a:spcBef>
              <a:buSzPct val="100000"/>
              <a:buFont typeface="Arial"/>
              <a:buChar char="–"/>
              <a:defRPr sz="2531">
                <a:latin typeface="Verdana"/>
                <a:ea typeface="Verdana"/>
                <a:cs typeface="Verdana"/>
                <a:sym typeface="Verdana"/>
              </a:defRPr>
            </a:lvl4pPr>
            <a:lvl5pPr marL="1563250" indent="-287091" defTabSz="319004">
              <a:spcBef>
                <a:spcPts val="422"/>
              </a:spcBef>
              <a:buSzPct val="100000"/>
              <a:buFont typeface="Arial"/>
              <a:buChar char="»"/>
              <a:defRPr sz="2531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67" name="Shape 367"/>
          <p:cNvSpPr>
            <a:spLocks noGrp="1"/>
          </p:cNvSpPr>
          <p:nvPr>
            <p:ph type="sldNum" sz="quarter" idx="2"/>
          </p:nvPr>
        </p:nvSpPr>
        <p:spPr>
          <a:xfrm>
            <a:off x="7742949" y="5548267"/>
            <a:ext cx="258052" cy="195150"/>
          </a:xfrm>
          <a:prstGeom prst="rect">
            <a:avLst/>
          </a:prstGeom>
        </p:spPr>
        <p:txBody>
          <a:bodyPr lIns="48403" tIns="48403" rIns="48403" bIns="48403">
            <a:spAutoFit/>
          </a:bodyPr>
          <a:lstStyle>
            <a:lvl1pPr algn="r" defTabSz="319004">
              <a:defRPr sz="63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6996810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Shape 374"/>
          <p:cNvSpPr>
            <a:spLocks noGrp="1"/>
          </p:cNvSpPr>
          <p:nvPr>
            <p:ph type="title"/>
          </p:nvPr>
        </p:nvSpPr>
        <p:spPr>
          <a:xfrm>
            <a:off x="457348" y="162265"/>
            <a:ext cx="8229601" cy="1098901"/>
          </a:xfrm>
          <a:prstGeom prst="rect">
            <a:avLst/>
          </a:prstGeom>
        </p:spPr>
        <p:txBody>
          <a:bodyPr lIns="64525" tIns="64525" rIns="64525" bIns="64525"/>
          <a:lstStyle>
            <a:lvl1pPr algn="l" defTabSz="453716">
              <a:defRPr sz="2672" b="1">
                <a:solidFill>
                  <a:srgbClr val="36435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Title Text</a:t>
            </a:r>
          </a:p>
        </p:txBody>
      </p:sp>
      <p:sp>
        <p:nvSpPr>
          <p:cNvPr id="375" name="Shape 375"/>
          <p:cNvSpPr>
            <a:spLocks noGrp="1"/>
          </p:cNvSpPr>
          <p:nvPr>
            <p:ph type="body" idx="1"/>
          </p:nvPr>
        </p:nvSpPr>
        <p:spPr>
          <a:xfrm>
            <a:off x="457348" y="1600202"/>
            <a:ext cx="8229601" cy="4164529"/>
          </a:xfrm>
          <a:prstGeom prst="rect">
            <a:avLst/>
          </a:prstGeom>
        </p:spPr>
        <p:txBody>
          <a:bodyPr lIns="64525" tIns="64525" rIns="64525" bIns="64525" anchor="t"/>
          <a:lstStyle>
            <a:lvl1pPr marL="324742" indent="-324742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1pPr>
            <a:lvl2pPr marL="634698" indent="-315729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2pPr>
            <a:lvl3pPr marL="890686" indent="-252563" defTabSz="453716">
              <a:spcBef>
                <a:spcPts val="633"/>
              </a:spcBef>
              <a:buSzPct val="100000"/>
              <a:buFont typeface="Arial"/>
              <a:defRPr sz="2672">
                <a:latin typeface="Verdana"/>
                <a:ea typeface="Verdana"/>
                <a:cs typeface="Verdana"/>
                <a:sym typeface="Verdana"/>
              </a:defRPr>
            </a:lvl3pPr>
            <a:lvl4pPr marL="1260198" indent="-303078" defTabSz="453716">
              <a:spcBef>
                <a:spcPts val="633"/>
              </a:spcBef>
              <a:buSzPct val="100000"/>
              <a:buFont typeface="Arial"/>
              <a:buChar char="–"/>
              <a:defRPr sz="2672">
                <a:latin typeface="Verdana"/>
                <a:ea typeface="Verdana"/>
                <a:cs typeface="Verdana"/>
                <a:sym typeface="Verdana"/>
              </a:defRPr>
            </a:lvl4pPr>
            <a:lvl5pPr marL="1579213" indent="-303078" defTabSz="453716">
              <a:spcBef>
                <a:spcPts val="633"/>
              </a:spcBef>
              <a:buSzPct val="100000"/>
              <a:buFont typeface="Arial"/>
              <a:buChar char="»"/>
              <a:defRPr sz="2672">
                <a:latin typeface="Verdana"/>
                <a:ea typeface="Verdana"/>
                <a:cs typeface="Verdana"/>
                <a:sym typeface="Verdana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76" name="Shape 376"/>
          <p:cNvSpPr>
            <a:spLocks noGrp="1"/>
          </p:cNvSpPr>
          <p:nvPr>
            <p:ph type="sldNum" sz="quarter" idx="2"/>
          </p:nvPr>
        </p:nvSpPr>
        <p:spPr>
          <a:xfrm>
            <a:off x="8818124" y="6254495"/>
            <a:ext cx="325877" cy="249254"/>
          </a:xfrm>
          <a:prstGeom prst="rect">
            <a:avLst/>
          </a:prstGeom>
        </p:spPr>
        <p:txBody>
          <a:bodyPr lIns="64525" tIns="64525" rIns="64525" bIns="64525">
            <a:spAutoFit/>
          </a:bodyPr>
          <a:lstStyle>
            <a:lvl1pPr algn="r" defTabSz="453716">
              <a:defRPr sz="773" b="1">
                <a:solidFill>
                  <a:srgbClr val="EEECE1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338711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404139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>
            <p:extLst/>
          </p:nvPr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531399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203339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490502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66963"/>
      </p:ext>
    </p:extLst>
  </p:cSld>
  <p:clrMapOvr>
    <a:masterClrMapping/>
  </p:clrMapOvr>
  <p:hf sldNum="0"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039295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127703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028700" y="914400"/>
            <a:ext cx="7086600" cy="4953000"/>
          </a:xfrm>
          <a:prstGeom prst="rect">
            <a:avLst/>
          </a:prstGeom>
          <a:solidFill>
            <a:schemeClr val="lt1">
              <a:alpha val="95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00" y="914400"/>
            <a:ext cx="6553200" cy="1219200"/>
          </a:xfrm>
        </p:spPr>
        <p:txBody>
          <a:bodyPr/>
          <a:lstStyle>
            <a:lvl1pPr>
              <a:defRPr baseline="0">
                <a:solidFill>
                  <a:schemeClr val="accent5">
                    <a:lumMod val="75000"/>
                  </a:schemeClr>
                </a:solidFill>
                <a:effectLst/>
              </a:defRPr>
            </a:lvl1pPr>
          </a:lstStyle>
          <a:p>
            <a:r>
              <a:rPr lang="en-US" dirty="0"/>
              <a:t>Closing Slide Title 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1295400" y="2133600"/>
            <a:ext cx="6553200" cy="3505200"/>
          </a:xfrm>
        </p:spPr>
        <p:txBody>
          <a:bodyPr/>
          <a:lstStyle>
            <a:lvl1pPr marL="0" indent="0">
              <a:spcBef>
                <a:spcPts val="34"/>
              </a:spcBef>
              <a:buFontTx/>
              <a:buNone/>
              <a:defRPr b="1" i="0" baseline="0">
                <a:solidFill>
                  <a:srgbClr val="92D050"/>
                </a:solidFill>
                <a:latin typeface="Arial"/>
                <a:cs typeface="Arial"/>
              </a:defRPr>
            </a:lvl1pPr>
            <a:lvl2pPr marL="0" indent="0">
              <a:buClr>
                <a:schemeClr val="tx1">
                  <a:lumMod val="75000"/>
                  <a:lumOff val="25000"/>
                </a:schemeClr>
              </a:buClr>
              <a:buSzPct val="150000"/>
              <a:buFontTx/>
              <a:buNone/>
              <a:defRPr baseline="0">
                <a:solidFill>
                  <a:schemeClr val="tx2">
                    <a:lumMod val="50000"/>
                  </a:schemeClr>
                </a:solidFill>
              </a:defRPr>
            </a:lvl2pPr>
            <a:lvl3pPr marL="593725" indent="0">
              <a:buFont typeface="Wingdings" charset="2"/>
              <a:buNone/>
              <a:defRPr/>
            </a:lvl3pPr>
          </a:lstStyle>
          <a:p>
            <a:pPr lvl="0"/>
            <a:r>
              <a:rPr lang="en-US" dirty="0"/>
              <a:t>Contact information</a:t>
            </a:r>
          </a:p>
          <a:p>
            <a:pPr lvl="1"/>
            <a:r>
              <a:rPr lang="en-US" dirty="0"/>
              <a:t>Second level, such as web address</a:t>
            </a:r>
          </a:p>
        </p:txBody>
      </p:sp>
    </p:spTree>
    <p:extLst>
      <p:ext uri="{BB962C8B-B14F-4D97-AF65-F5344CB8AC3E}">
        <p14:creationId xmlns:p14="http://schemas.microsoft.com/office/powerpoint/2010/main" val="2699537377"/>
      </p:ext>
    </p:extLst>
  </p:cSld>
  <p:clrMapOvr>
    <a:masterClrMapping/>
  </p:clrMapOvr>
  <p:transition>
    <p:dissolv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2596896" y="6265818"/>
            <a:ext cx="3950208" cy="2743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734332"/>
      </p:ext>
    </p:extLst>
  </p:cSld>
  <p:clrMapOvr>
    <a:masterClrMapping/>
  </p:clrMapOvr>
  <p:transition>
    <p:dissolv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dirty="0">
                <a:solidFill>
                  <a:prstClr val="black"/>
                </a:solidFill>
              </a:rPr>
              <a:t> CBD Cross-Cadre Meeting, May 21, 2014, Miami</a:t>
            </a:r>
            <a:endParaRPr lang="en-US" sz="1400" dirty="0">
              <a:solidFill>
                <a:prstClr val="black"/>
              </a:solidFill>
            </a:endParaRPr>
          </a:p>
        </p:txBody>
      </p:sp>
      <p:pic>
        <p:nvPicPr>
          <p:cNvPr id="12290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6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1274154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5287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0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716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13"/>
            <a:ext cx="9842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3638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3"/>
            <a:ext cx="49355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88"/>
            <a:ext cx="29591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0"/>
            <a:ext cx="361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450" y="-201613"/>
            <a:ext cx="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DRAFT - for discussion purposes</a:t>
            </a: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495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50"/>
            <a:ext cx="7315200" cy="244475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24" y="4864963"/>
            <a:ext cx="1505715" cy="161849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5"/>
          </a:xfrm>
          <a:prstGeom prst="rect">
            <a:avLst/>
          </a:prstGeom>
        </p:spPr>
      </p:pic>
      <p:pic>
        <p:nvPicPr>
          <p:cNvPr id="13314" name="Picture 2" descr="H:\Admin-WED\logos\logo_vertical CCC Main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101" y="4864963"/>
            <a:ext cx="2423160" cy="1618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540901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8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5272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5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503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9876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60"/>
            <a:ext cx="7315200" cy="246221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22"/>
            <a:ext cx="9842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0920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4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96"/>
            <a:ext cx="2959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1"/>
            <a:ext cx="361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398" y="-2016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35" y="4864967"/>
            <a:ext cx="1505715" cy="1618492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6"/>
          </a:xfrm>
          <a:prstGeom prst="rect">
            <a:avLst/>
          </a:prstGeom>
        </p:spPr>
      </p:pic>
      <p:sp>
        <p:nvSpPr>
          <p:cNvPr id="15" name="Text Placeholder 2"/>
          <p:cNvSpPr txBox="1">
            <a:spLocks/>
          </p:cNvSpPr>
          <p:nvPr userDrawn="1"/>
        </p:nvSpPr>
        <p:spPr bwMode="auto">
          <a:xfrm>
            <a:off x="685800" y="4883128"/>
            <a:ext cx="7315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kern="1200" smtClean="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400" dirty="0">
                <a:solidFill>
                  <a:prstClr val="black"/>
                </a:solidFill>
              </a:rPr>
              <a:t>Tuesday, October 14, 2014</a:t>
            </a:r>
          </a:p>
        </p:txBody>
      </p:sp>
    </p:spTree>
    <p:extLst>
      <p:ext uri="{BB962C8B-B14F-4D97-AF65-F5344CB8AC3E}">
        <p14:creationId xmlns:p14="http://schemas.microsoft.com/office/powerpoint/2010/main" val="334440932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9"/>
            <a:ext cx="640080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7688" y="182880"/>
            <a:ext cx="2281890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196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500" y="242889"/>
            <a:ext cx="6400800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81523" y="825501"/>
            <a:ext cx="8595360" cy="1231106"/>
          </a:xfrm>
        </p:spPr>
        <p:txBody>
          <a:bodyPr/>
          <a:lstStyle>
            <a:lvl2pPr marL="193675" indent="-192088">
              <a:buClrTx/>
              <a:buSzPct val="120000"/>
              <a:buFont typeface="Arial" pitchFamily="34" charset="0"/>
              <a:buChar char="•"/>
              <a:defRPr/>
            </a:lvl2pPr>
            <a:lvl3pPr marL="457200" indent="-261938">
              <a:buClrTx/>
              <a:buSzPct val="120000"/>
              <a:buFont typeface="Arial" pitchFamily="34" charset="0"/>
              <a:buChar char="•"/>
              <a:defRPr/>
            </a:lvl3pPr>
            <a:lvl4pPr marL="614363" indent="-155575">
              <a:buClrTx/>
              <a:buSzPct val="120000"/>
              <a:buFont typeface="Arial" pitchFamily="34" charset="0"/>
              <a:buChar char="•"/>
              <a:defRPr/>
            </a:lvl4pPr>
            <a:lvl5pPr marL="746125" indent="-130175">
              <a:buClrTx/>
              <a:buSzPct val="12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12319" y="6254461"/>
            <a:ext cx="8686800" cy="230832"/>
          </a:xfrm>
        </p:spPr>
        <p:txBody>
          <a:bodyPr lIns="91440" tIns="45720" rIns="91440" bIns="45720" anchor="b" anchorCtr="0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 dirty="0"/>
              <a:t>Source: 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7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1485" y="6400453"/>
            <a:ext cx="1280160" cy="32644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8809" y="182880"/>
            <a:ext cx="2286000" cy="1090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6223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80" name="Working Draft Text" hidden="1"/>
          <p:cNvSpPr txBox="1">
            <a:spLocks noChangeArrowheads="1"/>
          </p:cNvSpPr>
          <p:nvPr/>
        </p:nvSpPr>
        <p:spPr bwMode="auto">
          <a:xfrm>
            <a:off x="685800" y="61922"/>
            <a:ext cx="98425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dirty="0">
                <a:solidFill>
                  <a:srgbClr val="000000"/>
                </a:solidFill>
                <a:cs typeface="Arial" charset="0"/>
              </a:rPr>
              <a:t>WORKING DRAFT</a:t>
            </a:r>
          </a:p>
        </p:txBody>
      </p:sp>
      <p:sp>
        <p:nvSpPr>
          <p:cNvPr id="79882" name="McK Document type" hidden="1"/>
          <p:cNvSpPr txBox="1">
            <a:spLocks noChangeArrowheads="1"/>
          </p:cNvSpPr>
          <p:nvPr/>
        </p:nvSpPr>
        <p:spPr bwMode="auto">
          <a:xfrm>
            <a:off x="685800" y="4970920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ocument type</a:t>
            </a:r>
          </a:p>
        </p:txBody>
      </p:sp>
      <p:sp>
        <p:nvSpPr>
          <p:cNvPr id="79883" name="McK Date" hidden="1"/>
          <p:cNvSpPr txBox="1">
            <a:spLocks noChangeArrowheads="1"/>
          </p:cNvSpPr>
          <p:nvPr/>
        </p:nvSpPr>
        <p:spPr bwMode="auto">
          <a:xfrm>
            <a:off x="685800" y="5243514"/>
            <a:ext cx="49355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000000"/>
                </a:solidFill>
                <a:cs typeface="Arial" charset="0"/>
              </a:rPr>
              <a:t>Date</a:t>
            </a:r>
          </a:p>
        </p:txBody>
      </p:sp>
      <p:sp>
        <p:nvSpPr>
          <p:cNvPr id="79886" name="Working Draft" hidden="1"/>
          <p:cNvSpPr txBox="1">
            <a:spLocks noChangeArrowheads="1"/>
          </p:cNvSpPr>
          <p:nvPr/>
        </p:nvSpPr>
        <p:spPr bwMode="auto">
          <a:xfrm>
            <a:off x="685800" y="217496"/>
            <a:ext cx="29591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000000"/>
                </a:solidFill>
                <a:cs typeface="Arial" charset="0"/>
              </a:rPr>
              <a:t>Last Modified 10/7/2010 10:21:20 PM India Standard Time</a:t>
            </a:r>
          </a:p>
        </p:txBody>
      </p:sp>
      <p:sp>
        <p:nvSpPr>
          <p:cNvPr id="79887" name="Printed" hidden="1"/>
          <p:cNvSpPr txBox="1">
            <a:spLocks noChangeArrowheads="1"/>
          </p:cNvSpPr>
          <p:nvPr/>
        </p:nvSpPr>
        <p:spPr bwMode="auto">
          <a:xfrm>
            <a:off x="685800" y="374651"/>
            <a:ext cx="36195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dirty="0">
                <a:solidFill>
                  <a:srgbClr val="000000"/>
                </a:solidFill>
                <a:cs typeface="Arial" charset="0"/>
              </a:rPr>
              <a:t>Printed 10/7/2010 9:11:42 PM India Standard Time</a:t>
            </a:r>
            <a:endParaRPr lang="en-US" sz="9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9907" name="doc id"/>
          <p:cNvSpPr txBox="1">
            <a:spLocks noChangeArrowheads="1"/>
          </p:cNvSpPr>
          <p:nvPr/>
        </p:nvSpPr>
        <p:spPr bwMode="auto">
          <a:xfrm>
            <a:off x="8934398" y="-2016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8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305" y="6492240"/>
            <a:ext cx="2133600" cy="182880"/>
          </a:xfrm>
        </p:spPr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320" y="6492240"/>
            <a:ext cx="2895600" cy="182880"/>
          </a:xfrm>
        </p:spPr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1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2240"/>
            <a:ext cx="914400" cy="182880"/>
          </a:xfrm>
        </p:spPr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9" name="Title Placeholder 1"/>
          <p:cNvSpPr>
            <a:spLocks noGrp="1"/>
          </p:cNvSpPr>
          <p:nvPr>
            <p:ph type="ctrTitle"/>
          </p:nvPr>
        </p:nvSpPr>
        <p:spPr bwMode="auto">
          <a:xfrm>
            <a:off x="685800" y="3325503"/>
            <a:ext cx="7315200" cy="492443"/>
          </a:xfrm>
        </p:spPr>
        <p:txBody>
          <a:bodyPr anchor="t"/>
          <a:lstStyle>
            <a:lvl1pPr>
              <a:defRPr sz="3200" b="1" smtClean="0">
                <a:solidFill>
                  <a:srgbClr val="002060"/>
                </a:solidFill>
                <a:latin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subTitle" idx="1"/>
          </p:nvPr>
        </p:nvSpPr>
        <p:spPr bwMode="auto">
          <a:xfrm>
            <a:off x="685800" y="4273560"/>
            <a:ext cx="7315200" cy="246221"/>
          </a:xfrm>
        </p:spPr>
        <p:txBody>
          <a:bodyPr/>
          <a:lstStyle>
            <a:lvl1pPr>
              <a:defRPr smtClean="0">
                <a:latin typeface="Calibri" pitchFamily="34" charset="0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835" y="4864967"/>
            <a:ext cx="1505715" cy="1618492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9567"/>
            <a:ext cx="5715000" cy="1457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005845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>
                <a:solidFill>
                  <a:prstClr val="white">
                    <a:lumMod val="50000"/>
                  </a:prstClr>
                </a:solidFill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DRAFT - for discussion purpos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algn="ctr"/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1295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0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/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/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/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/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1"/>
            <a:ext cx="8229600" cy="2506133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52400" y="233680"/>
            <a:ext cx="8991600" cy="7924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457200" y="1117601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6" name="Subtitle 8"/>
          <p:cNvSpPr txBox="1">
            <a:spLocks/>
          </p:cNvSpPr>
          <p:nvPr userDrawn="1"/>
        </p:nvSpPr>
        <p:spPr bwMode="auto">
          <a:xfrm>
            <a:off x="7556500" y="735433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0065A4"/>
              </a:solidFill>
            </a:endParaRPr>
          </a:p>
        </p:txBody>
      </p:sp>
      <p:pic>
        <p:nvPicPr>
          <p:cNvPr id="7" name="Picture 6" descr="CCRC_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39" y="91444"/>
            <a:ext cx="3149599" cy="1062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4231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0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>
                <a:solidFill>
                  <a:srgbClr val="FFFFFF"/>
                </a:solidFill>
              </a:defRPr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>
                <a:solidFill>
                  <a:srgbClr val="FFFFFF"/>
                </a:solidFill>
              </a:defRPr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1"/>
            <a:ext cx="8229600" cy="250613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433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eaLnBrk="0" fontAlgn="base" hangingPunct="0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7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91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63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5" y="289979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</a:rPr>
              <a:t>PRESENTATION TITLE IN HEADER / MONTH XX, 2012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1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0000"/>
                </a:solidFill>
              </a:rPr>
              <a:t>COMMUNITY COLLEGE RESEARCH CENTER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3683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8"/>
            <a:ext cx="8229600" cy="3851275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63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5" y="289979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 eaLnBrk="0" fontAlgn="base" hangingPunct="0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539B"/>
                </a:solidFill>
              </a:rPr>
              <a:t>Complete College America GPS Meeting/ August 29, 2012</a:t>
            </a:r>
            <a:endParaRPr lang="en-US" sz="700" dirty="0">
              <a:solidFill>
                <a:srgbClr val="00539B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1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0" b="1" dirty="0">
                <a:solidFill>
                  <a:srgbClr val="00539B"/>
                </a:solidFill>
              </a:rPr>
              <a:t>COMMUNITY COLLEGE RESEARCH CENTER</a:t>
            </a:r>
            <a:endParaRPr lang="en-US" sz="700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6809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3554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81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2" y="2002158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46" y="2002158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59423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83" y="2379665"/>
            <a:ext cx="3979863" cy="3831592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46" y="2415328"/>
            <a:ext cx="3979333" cy="3794654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81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2" y="2415329"/>
            <a:ext cx="3979333" cy="3804814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82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284163" indent="-111125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46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346075" indent="-234950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04037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37" y="3108970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8799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81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82" y="1989997"/>
            <a:ext cx="3979333" cy="422729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6" y="1981521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990337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4" y="2201334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81" y="2201334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816872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61"/>
            <a:ext cx="2133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2BA681EA-39C8-1946-B598-E34D97CDBB9C}" type="datetimeFigureOut">
              <a:rPr lang="en-US" sz="2400" smtClean="0">
                <a:solidFill>
                  <a:srgbClr val="000000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3/9/2017</a:t>
            </a:fld>
            <a:endParaRPr lang="en-US" sz="240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61"/>
            <a:ext cx="2895600" cy="365125"/>
          </a:xfrm>
          <a:prstGeom prst="rect">
            <a:avLst/>
          </a:prstGeom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641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7540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7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/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/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/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/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2"/>
            <a:ext cx="8229600" cy="2506133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52400" y="233680"/>
            <a:ext cx="8991600" cy="7924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457200" y="1117602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ubtitle 8"/>
          <p:cNvSpPr txBox="1">
            <a:spLocks/>
          </p:cNvSpPr>
          <p:nvPr userDrawn="1"/>
        </p:nvSpPr>
        <p:spPr bwMode="auto">
          <a:xfrm>
            <a:off x="7556500" y="735441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0065A4"/>
              </a:solidFill>
            </a:endParaRPr>
          </a:p>
        </p:txBody>
      </p:sp>
      <p:pic>
        <p:nvPicPr>
          <p:cNvPr id="7" name="Picture 6" descr="CCRC_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9" y="91441"/>
            <a:ext cx="3149599" cy="1062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95324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7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>
                <a:solidFill>
                  <a:srgbClr val="FFFFFF"/>
                </a:solidFill>
              </a:defRPr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>
                <a:solidFill>
                  <a:srgbClr val="FFFFFF"/>
                </a:solidFill>
              </a:defRPr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2"/>
            <a:ext cx="8229600" cy="250613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57200" y="1117602"/>
            <a:ext cx="8229600" cy="172720"/>
          </a:xfrm>
          <a:prstGeom prst="rect">
            <a:avLst/>
          </a:prstGeom>
          <a:solidFill>
            <a:srgbClr val="A3B22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441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FFFFFF"/>
              </a:solidFill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1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9352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91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71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7" y="289991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0000"/>
                </a:solidFill>
              </a:rPr>
              <a:t>PRESENTATION TITLE IN HEADER / MONTH XX, 2012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9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0000"/>
                </a:solidFill>
              </a:rPr>
              <a:t>COMMUNITY COLLEGE RESEARCH CENTER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2361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9"/>
            <a:ext cx="8229600" cy="3851275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71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7" y="289991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plete College America GPS Meeting/ August 29, 2012</a:t>
            </a:r>
            <a:endParaRPr lang="en-US" sz="700" dirty="0">
              <a:solidFill>
                <a:srgbClr val="00539B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9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MUNITY COLLEGE RESEARCH CENTER</a:t>
            </a:r>
            <a:endParaRPr lang="en-US" sz="700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6243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149667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5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77" y="200215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45" y="200215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defRPr/>
            </a:lvl1pPr>
            <a:lvl2pPr>
              <a:spcBef>
                <a:spcPts val="432"/>
              </a:spcBef>
              <a:defRPr/>
            </a:lvl2pPr>
            <a:lvl3pPr>
              <a:spcBef>
                <a:spcPts val="432"/>
              </a:spcBef>
              <a:defRPr/>
            </a:lvl3pPr>
            <a:lvl4pPr>
              <a:spcBef>
                <a:spcPts val="432"/>
              </a:spcBef>
              <a:defRPr/>
            </a:lvl4pPr>
            <a:lvl5pPr>
              <a:spcBef>
                <a:spcPts val="432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16528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73" y="2379665"/>
            <a:ext cx="3979863" cy="3831592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22"/>
            <a:ext cx="3979862" cy="4097339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45" y="2415329"/>
            <a:ext cx="3979333" cy="3794654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0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77" y="2415332"/>
            <a:ext cx="3979333" cy="3804815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77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284163" indent="-111125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45" y="2113919"/>
            <a:ext cx="3979333" cy="306388"/>
          </a:xfrm>
          <a:solidFill>
            <a:schemeClr val="accent1"/>
          </a:solidFill>
          <a:ln>
            <a:noFill/>
          </a:ln>
        </p:spPr>
        <p:txBody>
          <a:bodyPr anchor="ctr"/>
          <a:lstStyle>
            <a:lvl1pPr marL="346075" indent="-234950" algn="l">
              <a:buFontTx/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62814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3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32" y="3108973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8623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5" y="750889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77" y="1989992"/>
            <a:ext cx="3979333" cy="4227299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41" y="1981520"/>
            <a:ext cx="3995737" cy="4235767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762738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39" y="2201343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75" y="2201343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2820135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5910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8229600" cy="447516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22656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72406E-C89F-2547-BA91-1B38D2637BE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7505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765DA9-1E65-3443-8923-E0FD376C0FC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74292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A30055-21F7-9B45-B57C-415220839617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1927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C7CB50-4219-6B41-BD54-75D2ABF7096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6067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667384-BB15-DD47-AEE2-0B50698A8DF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1320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5EFE3-BA09-2742-812A-225102BF06E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6599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71D9AD-452D-094E-9C46-861057C3C0B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1652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DBA29-0BFE-DF4E-9AB6-DD615889E00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6581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C1A84B-AFB3-3147-88AA-8E423AF5790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62580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DC7DB8-48EB-5F43-82F3-9DCE2A09534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1251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10F2A4-A28B-5E44-83EE-B8045624B46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3171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199" y="457200"/>
            <a:ext cx="8229600" cy="548640"/>
          </a:xfrm>
          <a:prstGeom prst="rect">
            <a:avLst/>
          </a:prstGeom>
        </p:spPr>
        <p:txBody>
          <a:bodyPr/>
          <a:lstStyle>
            <a:lvl1pPr algn="l">
              <a:defRPr sz="3000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85800" y="1828800"/>
            <a:ext cx="36576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800600" y="1828800"/>
            <a:ext cx="36576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1021080"/>
            <a:ext cx="8229600" cy="274320"/>
          </a:xfrm>
        </p:spPr>
        <p:txBody>
          <a:bodyPr anchor="ctr"/>
          <a:lstStyle>
            <a:lvl1pPr marL="0" indent="0">
              <a:buNone/>
              <a:defRPr sz="2000">
                <a:solidFill>
                  <a:srgbClr val="FFC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57200" y="6400800"/>
            <a:ext cx="8229600" cy="274320"/>
          </a:xfrm>
        </p:spPr>
        <p:txBody>
          <a:bodyPr anchor="ctr"/>
          <a:lstStyle>
            <a:lvl1pPr marL="0" indent="0" algn="r">
              <a:buNone/>
              <a:defRPr sz="800" baseline="0">
                <a:solidFill>
                  <a:schemeClr val="tx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39761972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199" y="457200"/>
            <a:ext cx="8229600" cy="548640"/>
          </a:xfrm>
          <a:prstGeom prst="rect">
            <a:avLst/>
          </a:prstGeom>
        </p:spPr>
        <p:txBody>
          <a:bodyPr/>
          <a:lstStyle>
            <a:lvl1pPr algn="l">
              <a:defRPr sz="3000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1021080"/>
            <a:ext cx="8229600" cy="274320"/>
          </a:xfrm>
        </p:spPr>
        <p:txBody>
          <a:bodyPr anchor="ctr"/>
          <a:lstStyle>
            <a:lvl1pPr marL="0" indent="0">
              <a:buNone/>
              <a:defRPr sz="2000">
                <a:solidFill>
                  <a:srgbClr val="FFC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57200" y="6400800"/>
            <a:ext cx="8229600" cy="274320"/>
          </a:xfrm>
        </p:spPr>
        <p:txBody>
          <a:bodyPr anchor="ctr"/>
          <a:lstStyle>
            <a:lvl1pPr marL="0" indent="0" algn="r">
              <a:buNone/>
              <a:defRPr sz="800" baseline="0">
                <a:solidFill>
                  <a:schemeClr val="tx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828800"/>
            <a:ext cx="7772400" cy="4343400"/>
          </a:xfrm>
        </p:spPr>
        <p:txBody>
          <a:bodyPr rtlCol="0" anchor="ctr">
            <a:normAutofit/>
          </a:bodyPr>
          <a:lstStyle>
            <a:lvl1pPr marL="112713" indent="0" algn="ctr">
              <a:buFontTx/>
              <a:buNone/>
              <a:defRPr/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1535691566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 txBox="1">
            <a:spLocks noChangeArrowheads="1"/>
          </p:cNvSpPr>
          <p:nvPr userDrawn="1"/>
        </p:nvSpPr>
        <p:spPr bwMode="auto">
          <a:xfrm>
            <a:off x="8802688" y="6564313"/>
            <a:ext cx="2000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C81E64F5-FFF9-2043-ACF8-F948A8398A40}" type="slidenum">
              <a:rPr lang="en-US" smtClean="0">
                <a:solidFill>
                  <a:srgbClr val="FFFFFF"/>
                </a:solidFill>
                <a:latin typeface="Tahoma" pitchFamily="34" charset="0"/>
              </a:rPr>
              <a:pPr defTabSz="457200">
                <a:defRPr/>
              </a:pPr>
              <a:t>‹#›</a:t>
            </a:fld>
            <a:r>
              <a:rPr lang="en-US" dirty="0">
                <a:solidFill>
                  <a:srgbClr val="FFFFFF"/>
                </a:solidFill>
                <a:latin typeface="Tahoma" pitchFamily="34" charset="0"/>
              </a:rPr>
              <a:t> </a:t>
            </a: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163513" y="6564313"/>
            <a:ext cx="4197350" cy="158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fontAlgn="base" hangingPunct="1">
              <a:lnSpc>
                <a:spcPct val="101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Tahoma" charset="0"/>
                <a:ea typeface="SimSun" charset="0"/>
              </a:rPr>
              <a:t>©2013 U.S. Education Delivery Institut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448283" y="367410"/>
            <a:ext cx="7467118" cy="298327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24"/>
              </a:spcBef>
              <a:spcAft>
                <a:spcPts val="0"/>
              </a:spcAft>
              <a:buNone/>
              <a:defRPr sz="1900" b="1" i="0" baseline="0">
                <a:solidFill>
                  <a:srgbClr val="4B4B4B"/>
                </a:solidFill>
                <a:latin typeface="Tahom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63852" y="1543487"/>
            <a:ext cx="4258312" cy="12561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aseline="0">
                <a:latin typeface="Tahoma" pitchFamily="34" charset="0"/>
              </a:defRPr>
            </a:lvl1pPr>
            <a:lvl2pPr marL="181409" indent="-18140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1600" baseline="0">
                <a:latin typeface="Tahoma" pitchFamily="34" charset="0"/>
              </a:defRPr>
            </a:lvl2pPr>
            <a:lvl3pPr marL="472960" indent="-29155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1600" baseline="0">
                <a:latin typeface="Tahoma" pitchFamily="34" charset="0"/>
              </a:defRPr>
            </a:lvl3pPr>
            <a:lvl4pPr marL="639792" indent="-1668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1600" baseline="0">
                <a:latin typeface="Tahoma" pitchFamily="34" charset="0"/>
              </a:defRPr>
            </a:lvl4pPr>
            <a:lvl5pPr marL="751553" indent="-11176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16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657087" y="1543487"/>
            <a:ext cx="4258312" cy="12561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aseline="0">
                <a:latin typeface="Tahoma" pitchFamily="34" charset="0"/>
              </a:defRPr>
            </a:lvl1pPr>
            <a:lvl2pPr marL="181409" indent="-181409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 typeface="Tahoma" pitchFamily="34" charset="0"/>
              <a:buChar char="▪"/>
              <a:defRPr sz="1600" baseline="0">
                <a:latin typeface="Tahoma" pitchFamily="34" charset="0"/>
              </a:defRPr>
            </a:lvl2pPr>
            <a:lvl3pPr marL="472960" indent="-29155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–"/>
              <a:defRPr sz="1600" baseline="0">
                <a:latin typeface="Tahoma" pitchFamily="34" charset="0"/>
              </a:defRPr>
            </a:lvl3pPr>
            <a:lvl4pPr marL="639792" indent="-16683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 typeface="Tahoma" pitchFamily="34" charset="0"/>
              <a:buChar char="▫"/>
              <a:defRPr sz="1600" baseline="0">
                <a:latin typeface="Tahoma" pitchFamily="34" charset="0"/>
              </a:defRPr>
            </a:lvl4pPr>
            <a:lvl5pPr marL="751553" indent="-11176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 typeface="Tahoma" pitchFamily="34" charset="0"/>
              <a:buChar char="-"/>
              <a:defRPr sz="16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160740" y="1146692"/>
            <a:ext cx="8754660" cy="25122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aseline="0">
                <a:latin typeface="Tahoma" pitchFamily="34" charset="0"/>
              </a:defRPr>
            </a:lvl1pPr>
            <a:lvl2pPr marL="181409" indent="-181409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5000"/>
              <a:buFont typeface="Tahoma" pitchFamily="34" charset="0"/>
              <a:buChar char="▪"/>
              <a:defRPr sz="1600" baseline="0">
                <a:latin typeface="Tahoma" pitchFamily="34" charset="0"/>
              </a:defRPr>
            </a:lvl2pPr>
            <a:lvl3pPr marL="472960" indent="-291551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–"/>
              <a:defRPr sz="1600" baseline="0">
                <a:latin typeface="Tahoma" pitchFamily="34" charset="0"/>
              </a:defRPr>
            </a:lvl3pPr>
            <a:lvl4pPr marL="639792" indent="-166832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120000"/>
              <a:buFont typeface="Tahoma" pitchFamily="34" charset="0"/>
              <a:buChar char="▫"/>
              <a:defRPr sz="1600" baseline="0">
                <a:latin typeface="Tahoma" pitchFamily="34" charset="0"/>
              </a:defRPr>
            </a:lvl4pPr>
            <a:lvl5pPr marL="751553" indent="-111762">
              <a:lnSpc>
                <a:spcPct val="100000"/>
              </a:lnSpc>
              <a:spcBef>
                <a:spcPts val="392"/>
              </a:spcBef>
              <a:spcAft>
                <a:spcPts val="0"/>
              </a:spcAft>
              <a:buClr>
                <a:schemeClr val="tx2"/>
              </a:buClr>
              <a:buSzPct val="89000"/>
              <a:buFont typeface="Tahoma" pitchFamily="34" charset="0"/>
              <a:buChar char="-"/>
              <a:defRPr sz="1600" baseline="0">
                <a:latin typeface="Tahoma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939277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199" y="457200"/>
            <a:ext cx="8229600" cy="548640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sz="3000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85801" y="1828800"/>
            <a:ext cx="36576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800600" y="1828800"/>
            <a:ext cx="36576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1021081"/>
            <a:ext cx="8229600" cy="274320"/>
          </a:xfrm>
        </p:spPr>
        <p:txBody>
          <a:bodyPr anchor="ctr"/>
          <a:lstStyle>
            <a:lvl1pPr marL="0" indent="0">
              <a:buNone/>
              <a:defRPr sz="2000">
                <a:solidFill>
                  <a:srgbClr val="FFC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57200" y="6400801"/>
            <a:ext cx="8229600" cy="274320"/>
          </a:xfrm>
        </p:spPr>
        <p:txBody>
          <a:bodyPr anchor="ctr"/>
          <a:lstStyle>
            <a:lvl1pPr marL="0" indent="0" algn="r">
              <a:buNone/>
              <a:defRPr sz="800" baseline="0">
                <a:solidFill>
                  <a:schemeClr val="tx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6902778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199" y="457200"/>
            <a:ext cx="8229600" cy="548640"/>
          </a:xfrm>
          <a:prstGeom prst="rect">
            <a:avLst/>
          </a:prstGeom>
        </p:spPr>
        <p:txBody>
          <a:bodyPr lIns="91430" tIns="45716" rIns="91430" bIns="45716"/>
          <a:lstStyle>
            <a:lvl1pPr algn="l">
              <a:defRPr sz="3000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57200" y="1021081"/>
            <a:ext cx="8229600" cy="274320"/>
          </a:xfrm>
        </p:spPr>
        <p:txBody>
          <a:bodyPr anchor="ctr"/>
          <a:lstStyle>
            <a:lvl1pPr marL="0" indent="0">
              <a:buNone/>
              <a:defRPr sz="2000">
                <a:solidFill>
                  <a:srgbClr val="FFC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57200" y="6400801"/>
            <a:ext cx="8229600" cy="274320"/>
          </a:xfrm>
        </p:spPr>
        <p:txBody>
          <a:bodyPr anchor="ctr"/>
          <a:lstStyle>
            <a:lvl1pPr marL="0" indent="0" algn="r">
              <a:buNone/>
              <a:defRPr sz="800" baseline="0">
                <a:solidFill>
                  <a:schemeClr val="tx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828800"/>
            <a:ext cx="7772400" cy="4343400"/>
          </a:xfrm>
        </p:spPr>
        <p:txBody>
          <a:bodyPr anchor="ctr"/>
          <a:lstStyle>
            <a:lvl1pPr marL="112701" indent="0" algn="ctr">
              <a:buFontTx/>
              <a:buNone/>
              <a:defRPr/>
            </a:lvl1pPr>
          </a:lstStyle>
          <a:p>
            <a:pPr lvl="0"/>
            <a:r>
              <a:rPr lang="en-US" noProof="0" dirty="0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4082775876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57199" y="457200"/>
            <a:ext cx="8229600" cy="548640"/>
          </a:xfrm>
          <a:prstGeom prst="rect">
            <a:avLst/>
          </a:prstGeom>
        </p:spPr>
        <p:txBody>
          <a:bodyPr lIns="91411" tIns="45706" rIns="91411" bIns="45706"/>
          <a:lstStyle>
            <a:lvl1pPr algn="l">
              <a:defRPr sz="3000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Slide titl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85803" y="1828800"/>
            <a:ext cx="36576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800600" y="1828800"/>
            <a:ext cx="3657600" cy="4343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021083"/>
            <a:ext cx="8229600" cy="274320"/>
          </a:xfrm>
        </p:spPr>
        <p:txBody>
          <a:bodyPr anchor="ctr"/>
          <a:lstStyle>
            <a:lvl1pPr marL="0" indent="0">
              <a:buNone/>
              <a:defRPr sz="2000">
                <a:solidFill>
                  <a:srgbClr val="FFC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6400803"/>
            <a:ext cx="8229600" cy="274320"/>
          </a:xfrm>
        </p:spPr>
        <p:txBody>
          <a:bodyPr anchor="ctr"/>
          <a:lstStyle>
            <a:lvl1pPr marL="0" indent="0" algn="r">
              <a:buNone/>
              <a:defRPr sz="800" baseline="0">
                <a:solidFill>
                  <a:schemeClr val="tx1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pPr lvl="0"/>
            <a:r>
              <a:rPr lang="en-US" dirty="0"/>
              <a:t>SOURCE: Insert Citation</a:t>
            </a:r>
          </a:p>
        </p:txBody>
      </p:sp>
    </p:spTree>
    <p:extLst>
      <p:ext uri="{BB962C8B-B14F-4D97-AF65-F5344CB8AC3E}">
        <p14:creationId xmlns:p14="http://schemas.microsoft.com/office/powerpoint/2010/main" val="762443024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838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34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BB0E9-2D2E-4B0A-8910-E4D394C605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600783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" y="5969196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9144000" cy="588010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677" y="6078780"/>
            <a:ext cx="2305538" cy="715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57565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34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93F6D-149C-46F9-B76B-88A69D4D21C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094" y="3672076"/>
            <a:ext cx="3893906" cy="31859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00783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" y="5969196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33" y="13639"/>
            <a:ext cx="9144000" cy="588010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1231" y="6095011"/>
            <a:ext cx="2305538" cy="715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0728230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3474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97A37-BE30-4A16-B6FB-F86E363B41E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0094" y="3672076"/>
            <a:ext cx="3893906" cy="31859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600783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  <a:alpha val="34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" y="5969196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533" y="13639"/>
            <a:ext cx="9144000" cy="5880100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7785" y="6094653"/>
            <a:ext cx="2305538" cy="7153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456510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838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8A2F6B-9FC3-4130-989A-9067C881E91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816" y="-101802"/>
            <a:ext cx="78867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34828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0"/>
            <a:ext cx="838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851276-8AA3-45B3-B0A6-46CAA891913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038543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68328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1139" y="-4753"/>
            <a:ext cx="645045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595237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25ADB-1F12-48C4-8912-C3C9708BAA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133" y="1038180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782703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81139" y="-4753"/>
            <a:ext cx="645045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5952376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777CC-E6D4-4085-A3A8-4D4CBE5C7D05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133" y="1038180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3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247255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DACA-7B3D-4F55-ACA4-C985E786B11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038543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809829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23DA00-21A1-4868-B7B2-C639C5F807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9144000" cy="889000"/>
          </a:xfrm>
          <a:prstGeom prst="rect">
            <a:avLst/>
          </a:prstGeom>
          <a:gradFill>
            <a:gsLst>
              <a:gs pos="44000">
                <a:schemeClr val="bg1">
                  <a:tint val="98000"/>
                  <a:satMod val="130000"/>
                  <a:shade val="90000"/>
                  <a:lumMod val="103000"/>
                </a:schemeClr>
              </a:gs>
              <a:gs pos="14000">
                <a:srgbClr val="7E98B8"/>
              </a:gs>
              <a:gs pos="100000">
                <a:srgbClr val="003474"/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038543"/>
            <a:ext cx="9144000" cy="5819456"/>
          </a:xfrm>
          <a:prstGeom prst="rect">
            <a:avLst/>
          </a:prstGeom>
          <a:gradFill>
            <a:gsLst>
              <a:gs pos="0">
                <a:schemeClr val="bg1">
                  <a:tint val="93000"/>
                  <a:satMod val="150000"/>
                  <a:shade val="98000"/>
                  <a:lumMod val="102000"/>
                  <a:alpha val="0"/>
                </a:schemeClr>
              </a:gs>
              <a:gs pos="0">
                <a:schemeClr val="bg1">
                  <a:tint val="98000"/>
                  <a:satMod val="130000"/>
                  <a:shade val="90000"/>
                  <a:lumMod val="103000"/>
                  <a:alpha val="7000"/>
                </a:schemeClr>
              </a:gs>
              <a:gs pos="61000">
                <a:srgbClr val="C5CFE1">
                  <a:alpha val="33725"/>
                </a:srgbClr>
              </a:gs>
            </a:gsLst>
            <a:lin ang="4200000" scaled="0"/>
          </a:gradFill>
          <a:ln>
            <a:noFill/>
          </a:ln>
          <a:effectLst>
            <a:outerShdw blurRad="50800" dist="50800" dir="5400000" algn="ctr" rotWithShape="0">
              <a:srgbClr val="000000">
                <a:alpha val="7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2" y="893755"/>
            <a:ext cx="9144000" cy="4571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/>
          <p:nvPr userDrawn="1"/>
        </p:nvPicPr>
        <p:blipFill>
          <a:blip r:embed="rId2">
            <a:clrChange>
              <a:clrFrom>
                <a:srgbClr val="2F5597"/>
              </a:clrFrom>
              <a:clrTo>
                <a:srgbClr val="2F559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431" y="212718"/>
            <a:ext cx="2125784" cy="61478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929430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59A713-1D06-4273-A721-5BB33EFCD58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1424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E4557E-A8C2-41D4-98AC-C6128390074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520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40A54-FCFD-4FF5-B766-29C0A63DABD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9856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1F18D-5920-45BF-BBBF-F733E095AF3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644166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D5BB99-4194-4020-B8C1-44A08776CA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61967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096A5A-DA05-430B-9338-50A6FE39FC5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3881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5934D-7610-4269-BA34-3BB6E1BF747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9189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F8DA74-7DEA-4CA7-B7B4-23BFEBA4867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54046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750841-7634-4935-AE29-464470B797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22680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7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/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/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/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/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2"/>
            <a:ext cx="8229600" cy="2506133"/>
          </a:xfrm>
        </p:spPr>
        <p:txBody>
          <a:bodyPr/>
          <a:lstStyle>
            <a:lvl1pPr>
              <a:defRPr sz="5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152400" y="233680"/>
            <a:ext cx="8991600" cy="79248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457200" y="1117601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ubtitle 8"/>
          <p:cNvSpPr txBox="1">
            <a:spLocks/>
          </p:cNvSpPr>
          <p:nvPr userDrawn="1"/>
        </p:nvSpPr>
        <p:spPr bwMode="auto">
          <a:xfrm>
            <a:off x="7556500" y="735446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0065A4"/>
              </a:solidFill>
            </a:endParaRPr>
          </a:p>
        </p:txBody>
      </p:sp>
      <p:pic>
        <p:nvPicPr>
          <p:cNvPr id="7" name="Picture 6" descr="CCRC_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40" y="91444"/>
            <a:ext cx="3149599" cy="1062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3683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217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14400" algn="l"/>
              </a:tabLst>
              <a:defRPr sz="2000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5800" algn="l"/>
              </a:tabLst>
              <a:defRPr sz="1000" b="1">
                <a:solidFill>
                  <a:srgbClr val="FFFFFF"/>
                </a:solidFill>
              </a:defRPr>
            </a:lvl2pPr>
            <a:lvl3pPr marL="914400" indent="-914400">
              <a:spcAft>
                <a:spcPts val="0"/>
              </a:spcAft>
              <a:buFontTx/>
              <a:buNone/>
              <a:tabLst/>
              <a:defRPr sz="1000" b="0">
                <a:solidFill>
                  <a:srgbClr val="FFFFFF"/>
                </a:solidFill>
              </a:defRPr>
            </a:lvl3pPr>
            <a:lvl4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4pPr>
            <a:lvl5pPr marL="914400" indent="-914400">
              <a:spcAft>
                <a:spcPts val="0"/>
              </a:spcAft>
              <a:buFontTx/>
              <a:buNone/>
              <a:tabLst/>
              <a:defRPr sz="100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2"/>
            <a:ext cx="8229600" cy="2506133"/>
          </a:xfrm>
        </p:spPr>
        <p:txBody>
          <a:bodyPr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57200" y="1117601"/>
            <a:ext cx="8229600" cy="172720"/>
          </a:xfrm>
          <a:prstGeom prst="rect">
            <a:avLst/>
          </a:prstGeom>
          <a:solidFill>
            <a:srgbClr val="A3B22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446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endParaRPr lang="en-US" sz="800" b="1" kern="0" dirty="0">
              <a:solidFill>
                <a:srgbClr val="FFFFFF"/>
              </a:solidFill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1" y="91441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97901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91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6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7" y="4602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7" y="289987"/>
            <a:ext cx="2905761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r"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0000"/>
                </a:solidFill>
              </a:rPr>
              <a:t>PRESENTATION TITLE IN HEADER / MONTH XX, 2012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9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0000"/>
                </a:solidFill>
              </a:rPr>
              <a:t>COMMUNITY COLLEGE RESEARCH CENTER</a:t>
            </a:r>
            <a:endParaRPr lang="en-US" sz="700" dirty="0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84647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theme" Target="../theme/theme11.xml"/><Relationship Id="rId8" Type="http://schemas.openxmlformats.org/officeDocument/2006/relationships/slideLayout" Target="../slideLayouts/slideLayout128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theme" Target="../theme/theme12.xml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8" Type="http://schemas.openxmlformats.org/officeDocument/2006/relationships/slideLayout" Target="../slideLayouts/slideLayout16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hyperlink" Target="http://www.inquiry2improvement.com/" TargetMode="Externa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0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31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5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15.emf"/><Relationship Id="rId4" Type="http://schemas.openxmlformats.org/officeDocument/2006/relationships/slideLayout" Target="../slideLayouts/slideLayout36.xml"/><Relationship Id="rId9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9975" y="6390406"/>
            <a:ext cx="26249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74" y="762003"/>
            <a:ext cx="8351837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74" y="2008827"/>
            <a:ext cx="8351837" cy="44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41" y="6372247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en-US">
              <a:solidFill>
                <a:srgbClr val="00539B"/>
              </a:solidFill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837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MUNITY COLLEGE RESEARCH CENTER</a:t>
            </a:r>
            <a:endParaRPr lang="en-US" sz="700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8961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7" r:id="rId1"/>
    <p:sldLayoutId id="2147484518" r:id="rId2"/>
    <p:sldLayoutId id="2147484519" r:id="rId3"/>
    <p:sldLayoutId id="2147484520" r:id="rId4"/>
    <p:sldLayoutId id="2147484521" r:id="rId5"/>
    <p:sldLayoutId id="2147484522" r:id="rId6"/>
    <p:sldLayoutId id="2147484523" r:id="rId7"/>
    <p:sldLayoutId id="2147484524" r:id="rId8"/>
    <p:sldLayoutId id="2147484525" r:id="rId9"/>
    <p:sldLayoutId id="2147484526" r:id="rId10"/>
    <p:sldLayoutId id="2147484527" r:id="rId11"/>
    <p:sldLayoutId id="2147484528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863" indent="-169863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8325" indent="-222250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41363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 sz="1600">
          <a:solidFill>
            <a:srgbClr val="141313"/>
          </a:solidFill>
          <a:latin typeface="+mn-lt"/>
          <a:ea typeface="+mn-ea"/>
        </a:defRPr>
      </a:lvl3pPr>
      <a:lvl4pPr marL="914400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 sz="1600">
          <a:solidFill>
            <a:srgbClr val="141313"/>
          </a:solidFill>
          <a:latin typeface="+mn-lt"/>
          <a:ea typeface="+mn-ea"/>
        </a:defRPr>
      </a:lvl4pPr>
      <a:lvl5pPr marL="1087438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»"/>
        <a:tabLst>
          <a:tab pos="1087438" algn="l"/>
        </a:tabLst>
        <a:defRPr sz="1400">
          <a:solidFill>
            <a:srgbClr val="141313"/>
          </a:solidFill>
          <a:latin typeface="+mn-lt"/>
          <a:ea typeface="+mn-ea"/>
        </a:defRPr>
      </a:lvl5pPr>
      <a:lvl6pPr marL="24558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6pPr>
      <a:lvl7pPr marL="29130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7pPr>
      <a:lvl8pPr marL="33702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8pPr>
      <a:lvl9pPr marL="38274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body" idx="1"/>
          </p:nvPr>
        </p:nvSpPr>
        <p:spPr>
          <a:xfrm>
            <a:off x="893117" y="893099"/>
            <a:ext cx="7358063" cy="50720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391" tIns="50391" rIns="50391" bIns="50391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893117" y="178594"/>
            <a:ext cx="7358063" cy="1714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391" tIns="50391" rIns="50391" bIns="50391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4446984" y="6509742"/>
            <a:ext cx="241102" cy="258961"/>
          </a:xfrm>
          <a:prstGeom prst="rect">
            <a:avLst/>
          </a:prstGeom>
          <a:ln w="12700">
            <a:miter lim="400000"/>
          </a:ln>
        </p:spPr>
        <p:txBody>
          <a:bodyPr wrap="none" lIns="50391" tIns="50391" rIns="50391" bIns="50391">
            <a:normAutofit/>
          </a:bodyPr>
          <a:lstStyle>
            <a:lvl1pPr algn="ctr" defTabSz="407643">
              <a:defRPr sz="1266">
                <a:latin typeface="+mj-lt"/>
                <a:ea typeface="+mj-ea"/>
                <a:cs typeface="+mj-cs"/>
                <a:sym typeface="Gill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475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0" r:id="rId1"/>
    <p:sldLayoutId id="2147484531" r:id="rId2"/>
    <p:sldLayoutId id="2147484532" r:id="rId3"/>
    <p:sldLayoutId id="2147484533" r:id="rId4"/>
    <p:sldLayoutId id="2147484534" r:id="rId5"/>
    <p:sldLayoutId id="2147484535" r:id="rId6"/>
    <p:sldLayoutId id="2147484536" r:id="rId7"/>
    <p:sldLayoutId id="2147484537" r:id="rId8"/>
    <p:sldLayoutId id="2147484538" r:id="rId9"/>
    <p:sldLayoutId id="2147484539" r:id="rId10"/>
    <p:sldLayoutId id="2147484541" r:id="rId11"/>
    <p:sldLayoutId id="2147484542" r:id="rId12"/>
    <p:sldLayoutId id="2147484543" r:id="rId13"/>
    <p:sldLayoutId id="2147484544" r:id="rId14"/>
    <p:sldLayoutId id="2147484545" r:id="rId15"/>
    <p:sldLayoutId id="2147484546" r:id="rId16"/>
    <p:sldLayoutId id="2147484547" r:id="rId17"/>
    <p:sldLayoutId id="2147484548" r:id="rId18"/>
    <p:sldLayoutId id="2147484549" r:id="rId19"/>
    <p:sldLayoutId id="2147484550" r:id="rId20"/>
    <p:sldLayoutId id="2147484551" r:id="rId21"/>
    <p:sldLayoutId id="2147484552" r:id="rId22"/>
    <p:sldLayoutId id="2147484553" r:id="rId23"/>
    <p:sldLayoutId id="2147484554" r:id="rId24"/>
    <p:sldLayoutId id="2147484555" r:id="rId25"/>
    <p:sldLayoutId id="2147484556" r:id="rId26"/>
    <p:sldLayoutId id="2147484557" r:id="rId27"/>
    <p:sldLayoutId id="2147484558" r:id="rId28"/>
    <p:sldLayoutId id="2147484559" r:id="rId29"/>
    <p:sldLayoutId id="2147484560" r:id="rId30"/>
    <p:sldLayoutId id="2147484561" r:id="rId31"/>
    <p:sldLayoutId id="2147484562" r:id="rId32"/>
    <p:sldLayoutId id="2147484563" r:id="rId33"/>
    <p:sldLayoutId id="2147484564" r:id="rId34"/>
  </p:sldLayoutIdLst>
  <p:transition spd="med"/>
  <p:txStyles>
    <p:titleStyle>
      <a:lvl1pPr marL="0" marR="0" indent="0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1pPr>
      <a:lvl2pPr marL="0" marR="0" indent="159534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2pPr>
      <a:lvl3pPr marL="0" marR="0" indent="319004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3pPr>
      <a:lvl4pPr marL="0" marR="0" indent="478571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4pPr>
      <a:lvl5pPr marL="0" marR="0" indent="638042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5pPr>
      <a:lvl6pPr marL="0" marR="0" indent="797575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6pPr>
      <a:lvl7pPr marL="0" marR="0" indent="957101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7pPr>
      <a:lvl8pPr marL="0" marR="0" indent="1116636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8pPr>
      <a:lvl9pPr marL="0" marR="0" indent="1276105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9pPr>
    </p:titleStyle>
    <p:bodyStyle>
      <a:lvl1pPr marL="620323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1pPr>
      <a:lvl2pPr marL="930506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2pPr>
      <a:lvl3pPr marL="1240645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3pPr>
      <a:lvl4pPr marL="1550835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4pPr>
      <a:lvl5pPr marL="1861030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5pPr>
      <a:lvl6pPr marL="2109128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6pPr>
      <a:lvl7pPr marL="2357300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7pPr>
      <a:lvl8pPr marL="2605421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8pPr>
      <a:lvl9pPr marL="2853547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9pPr>
    </p:bodyStyle>
    <p:otherStyle>
      <a:lvl1pPr marL="0" marR="0" indent="0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1pPr>
      <a:lvl2pPr marL="0" marR="0" indent="159534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2pPr>
      <a:lvl3pPr marL="0" marR="0" indent="319004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3pPr>
      <a:lvl4pPr marL="0" marR="0" indent="478571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4pPr>
      <a:lvl5pPr marL="0" marR="0" indent="638042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5pPr>
      <a:lvl6pPr marL="0" marR="0" indent="797575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6pPr>
      <a:lvl7pPr marL="0" marR="0" indent="957101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7pPr>
      <a:lvl8pPr marL="0" marR="0" indent="1116636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8pPr>
      <a:lvl9pPr marL="0" marR="0" indent="1276105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body" idx="1"/>
          </p:nvPr>
        </p:nvSpPr>
        <p:spPr>
          <a:xfrm>
            <a:off x="893117" y="893099"/>
            <a:ext cx="7358063" cy="50720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391" tIns="50391" rIns="50391" bIns="50391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893117" y="178594"/>
            <a:ext cx="7358063" cy="1714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50391" tIns="50391" rIns="50391" bIns="50391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4446984" y="6509742"/>
            <a:ext cx="241102" cy="258961"/>
          </a:xfrm>
          <a:prstGeom prst="rect">
            <a:avLst/>
          </a:prstGeom>
          <a:ln w="12700">
            <a:miter lim="400000"/>
          </a:ln>
        </p:spPr>
        <p:txBody>
          <a:bodyPr wrap="none" lIns="50391" tIns="50391" rIns="50391" bIns="50391">
            <a:normAutofit/>
          </a:bodyPr>
          <a:lstStyle>
            <a:lvl1pPr algn="ctr" defTabSz="407643">
              <a:defRPr sz="1266">
                <a:latin typeface="+mj-lt"/>
                <a:ea typeface="+mj-ea"/>
                <a:cs typeface="+mj-cs"/>
                <a:sym typeface="Gill Sans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3894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9" r:id="rId1"/>
    <p:sldLayoutId id="2147484580" r:id="rId2"/>
    <p:sldLayoutId id="2147484581" r:id="rId3"/>
    <p:sldLayoutId id="2147484582" r:id="rId4"/>
    <p:sldLayoutId id="2147484583" r:id="rId5"/>
    <p:sldLayoutId id="2147484584" r:id="rId6"/>
    <p:sldLayoutId id="2147484585" r:id="rId7"/>
    <p:sldLayoutId id="2147484586" r:id="rId8"/>
    <p:sldLayoutId id="2147484587" r:id="rId9"/>
    <p:sldLayoutId id="2147484588" r:id="rId10"/>
    <p:sldLayoutId id="2147484589" r:id="rId11"/>
    <p:sldLayoutId id="2147484590" r:id="rId12"/>
    <p:sldLayoutId id="2147484591" r:id="rId13"/>
    <p:sldLayoutId id="2147484592" r:id="rId14"/>
    <p:sldLayoutId id="2147484593" r:id="rId15"/>
    <p:sldLayoutId id="2147484594" r:id="rId16"/>
    <p:sldLayoutId id="2147484595" r:id="rId17"/>
    <p:sldLayoutId id="2147484596" r:id="rId18"/>
    <p:sldLayoutId id="2147484597" r:id="rId19"/>
    <p:sldLayoutId id="2147484598" r:id="rId20"/>
    <p:sldLayoutId id="2147484599" r:id="rId21"/>
    <p:sldLayoutId id="2147484600" r:id="rId22"/>
    <p:sldLayoutId id="2147484601" r:id="rId23"/>
    <p:sldLayoutId id="2147484602" r:id="rId24"/>
    <p:sldLayoutId id="2147484603" r:id="rId25"/>
    <p:sldLayoutId id="2147484604" r:id="rId26"/>
    <p:sldLayoutId id="2147484605" r:id="rId27"/>
    <p:sldLayoutId id="2147484606" r:id="rId28"/>
    <p:sldLayoutId id="2147484607" r:id="rId29"/>
    <p:sldLayoutId id="2147484608" r:id="rId30"/>
    <p:sldLayoutId id="2147484609" r:id="rId31"/>
    <p:sldLayoutId id="2147484610" r:id="rId32"/>
    <p:sldLayoutId id="2147484611" r:id="rId33"/>
    <p:sldLayoutId id="2147484612" r:id="rId34"/>
    <p:sldLayoutId id="2147484613" r:id="rId35"/>
  </p:sldLayoutIdLst>
  <p:transition spd="med"/>
  <p:txStyles>
    <p:titleStyle>
      <a:lvl1pPr marL="0" marR="0" indent="0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1pPr>
      <a:lvl2pPr marL="0" marR="0" indent="159534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2pPr>
      <a:lvl3pPr marL="0" marR="0" indent="319004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3pPr>
      <a:lvl4pPr marL="0" marR="0" indent="478571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4pPr>
      <a:lvl5pPr marL="0" marR="0" indent="638042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5pPr>
      <a:lvl6pPr marL="0" marR="0" indent="797575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6pPr>
      <a:lvl7pPr marL="0" marR="0" indent="957101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7pPr>
      <a:lvl8pPr marL="0" marR="0" indent="1116636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8pPr>
      <a:lvl9pPr marL="0" marR="0" indent="1276105" algn="ctr" defTabSz="40764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906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9pPr>
    </p:titleStyle>
    <p:bodyStyle>
      <a:lvl1pPr marL="620323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1pPr>
      <a:lvl2pPr marL="930506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2pPr>
      <a:lvl3pPr marL="1240645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3pPr>
      <a:lvl4pPr marL="1550835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4pPr>
      <a:lvl5pPr marL="1861030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5pPr>
      <a:lvl6pPr marL="2109128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6pPr>
      <a:lvl7pPr marL="2357300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7pPr>
      <a:lvl8pPr marL="2605421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8pPr>
      <a:lvl9pPr marL="2853547" marR="0" indent="-398752" algn="l" defTabSz="407643" rtl="0" latinLnBrk="0">
        <a:lnSpc>
          <a:spcPct val="100000"/>
        </a:lnSpc>
        <a:spcBef>
          <a:spcPts val="3375"/>
        </a:spcBef>
        <a:spcAft>
          <a:spcPts val="0"/>
        </a:spcAft>
        <a:buClrTx/>
        <a:buSzPct val="171000"/>
        <a:buFontTx/>
        <a:buChar char="•"/>
        <a:tabLst/>
        <a:defRPr sz="3023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Gill Sans"/>
        </a:defRPr>
      </a:lvl9pPr>
    </p:bodyStyle>
    <p:otherStyle>
      <a:lvl1pPr marL="0" marR="0" indent="0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1pPr>
      <a:lvl2pPr marL="0" marR="0" indent="159534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2pPr>
      <a:lvl3pPr marL="0" marR="0" indent="319004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3pPr>
      <a:lvl4pPr marL="0" marR="0" indent="478571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4pPr>
      <a:lvl5pPr marL="0" marR="0" indent="638042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5pPr>
      <a:lvl6pPr marL="0" marR="0" indent="797575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6pPr>
      <a:lvl7pPr marL="0" marR="0" indent="957101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7pPr>
      <a:lvl8pPr marL="0" marR="0" indent="1116636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8pPr>
      <a:lvl9pPr marL="0" marR="0" indent="1276105" algn="ctr" defTabSz="407643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66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Gill San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59975" y="6390406"/>
            <a:ext cx="26249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8"/>
              </a:rPr>
              <a:t>www.inquiry2improvement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22863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ransition>
    <p:dissolv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00" y="242888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459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91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563" name="McK 2. Slide Title"/>
          <p:cNvSpPr>
            <a:spLocks noGrp="1"/>
          </p:cNvSpPr>
          <p:nvPr>
            <p:ph type="title"/>
          </p:nvPr>
        </p:nvSpPr>
        <p:spPr bwMode="gray">
          <a:xfrm>
            <a:off x="190514" y="242889"/>
            <a:ext cx="87423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6564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99371" y="813111"/>
            <a:ext cx="4610100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2"/>
          </p:nvPr>
        </p:nvSpPr>
        <p:spPr>
          <a:xfrm>
            <a:off x="5091305" y="6492240"/>
            <a:ext cx="2133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Tuesday, October 14, 2014</a:t>
            </a:r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3"/>
          </p:nvPr>
        </p:nvSpPr>
        <p:spPr>
          <a:xfrm>
            <a:off x="212320" y="6492240"/>
            <a:ext cx="28956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l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t>DRAFT - for discussion purposes</a:t>
            </a: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4"/>
          </p:nvPr>
        </p:nvSpPr>
        <p:spPr>
          <a:xfrm>
            <a:off x="4114800" y="6492240"/>
            <a:ext cx="914400" cy="18288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6A21C74D-32CA-4538-90C8-4115AA589383}" type="slidenum">
              <a:rPr lang="en-US" smtClean="0">
                <a:solidFill>
                  <a:prstClr val="white">
                    <a:lumMod val="50000"/>
                  </a:prstClr>
                </a:solidFill>
                <a:cs typeface="Arial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80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46125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80" y="762000"/>
            <a:ext cx="8351837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80" y="2008823"/>
            <a:ext cx="8351837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42" y="6372236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539B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96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863" indent="-169863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8325" indent="-222250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41363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 sz="1600">
          <a:solidFill>
            <a:srgbClr val="141313"/>
          </a:solidFill>
          <a:latin typeface="+mn-lt"/>
          <a:ea typeface="+mn-ea"/>
        </a:defRPr>
      </a:lvl3pPr>
      <a:lvl4pPr marL="914400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 sz="1600">
          <a:solidFill>
            <a:srgbClr val="141313"/>
          </a:solidFill>
          <a:latin typeface="+mn-lt"/>
          <a:ea typeface="+mn-ea"/>
        </a:defRPr>
      </a:lvl4pPr>
      <a:lvl5pPr marL="1087438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»"/>
        <a:tabLst>
          <a:tab pos="1087438" algn="l"/>
        </a:tabLst>
        <a:defRPr sz="1400">
          <a:solidFill>
            <a:srgbClr val="141313"/>
          </a:solidFill>
          <a:latin typeface="+mn-lt"/>
          <a:ea typeface="+mn-ea"/>
        </a:defRPr>
      </a:lvl5pPr>
      <a:lvl6pPr marL="24558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6pPr>
      <a:lvl7pPr marL="29130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7pPr>
      <a:lvl8pPr marL="33702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8pPr>
      <a:lvl9pPr marL="38274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73" y="762003"/>
            <a:ext cx="8351837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73" y="2008827"/>
            <a:ext cx="8351837" cy="44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37" y="6372239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en-US">
              <a:solidFill>
                <a:srgbClr val="00539B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457200" y="528323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829"/>
            <a:ext cx="325120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230"/>
              </a:spcBef>
              <a:defRPr/>
            </a:pPr>
            <a:r>
              <a:rPr lang="en-US" sz="700" b="1" dirty="0">
                <a:solidFill>
                  <a:srgbClr val="00539B"/>
                </a:solidFill>
              </a:rPr>
              <a:t>COMMUNITY COLLEGE RESEARCH CENTER</a:t>
            </a:r>
            <a:endParaRPr lang="en-US" sz="700" dirty="0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583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  <p:sldLayoutId id="2147484119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863" indent="-169863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8325" indent="-222250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41363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 sz="1600">
          <a:solidFill>
            <a:srgbClr val="141313"/>
          </a:solidFill>
          <a:latin typeface="+mn-lt"/>
          <a:ea typeface="+mn-ea"/>
        </a:defRPr>
      </a:lvl3pPr>
      <a:lvl4pPr marL="914400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 sz="1600">
          <a:solidFill>
            <a:srgbClr val="141313"/>
          </a:solidFill>
          <a:latin typeface="+mn-lt"/>
          <a:ea typeface="+mn-ea"/>
        </a:defRPr>
      </a:lvl4pPr>
      <a:lvl5pPr marL="1087438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»"/>
        <a:tabLst>
          <a:tab pos="1087438" algn="l"/>
        </a:tabLst>
        <a:defRPr sz="1400">
          <a:solidFill>
            <a:srgbClr val="141313"/>
          </a:solidFill>
          <a:latin typeface="+mn-lt"/>
          <a:ea typeface="+mn-ea"/>
        </a:defRPr>
      </a:lvl5pPr>
      <a:lvl6pPr marL="24558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6pPr>
      <a:lvl7pPr marL="29130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7pPr>
      <a:lvl8pPr marL="33702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8pPr>
      <a:lvl9pPr marL="38274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2E28F7F-7A80-3B4B-894E-517024DC7D53}" type="slidenum">
              <a:rPr lang="en-US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en-US" dirty="0">
                <a:solidFill>
                  <a:prstClr val="black">
                    <a:tint val="75000"/>
                  </a:prstClr>
                </a:solidFill>
                <a:ea typeface="ＭＳ Ｐゴシック" charset="0"/>
              </a:rPr>
              <a:t>labele@fsu.edu</a:t>
            </a:r>
          </a:p>
        </p:txBody>
      </p:sp>
    </p:spTree>
    <p:extLst>
      <p:ext uri="{BB962C8B-B14F-4D97-AF65-F5344CB8AC3E}">
        <p14:creationId xmlns:p14="http://schemas.microsoft.com/office/powerpoint/2010/main" val="1571746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  <p:sldLayoutId id="2147484152" r:id="rId6"/>
    <p:sldLayoutId id="2147484153" r:id="rId7"/>
    <p:sldLayoutId id="2147484154" r:id="rId8"/>
    <p:sldLayoutId id="2147484155" r:id="rId9"/>
    <p:sldLayoutId id="2147484156" r:id="rId10"/>
    <p:sldLayoutId id="2147484157" r:id="rId11"/>
    <p:sldLayoutId id="2147484158" r:id="rId12"/>
    <p:sldLayoutId id="2147484159" r:id="rId13"/>
    <p:sldLayoutId id="2147484160" r:id="rId14"/>
    <p:sldLayoutId id="2147484161" r:id="rId15"/>
    <p:sldLayoutId id="2147484162" r:id="rId16"/>
    <p:sldLayoutId id="2147484163" r:id="rId17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149C7C40-21D0-4B28-BAA6-56997D200CD9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3/9/20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07F92A1F-C262-492F-8713-C803F59D72B2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1596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9" r:id="rId2"/>
    <p:sldLayoutId id="2147484220" r:id="rId3"/>
    <p:sldLayoutId id="2147484221" r:id="rId4"/>
    <p:sldLayoutId id="2147484222" r:id="rId5"/>
    <p:sldLayoutId id="2147484223" r:id="rId6"/>
    <p:sldLayoutId id="2147484224" r:id="rId7"/>
    <p:sldLayoutId id="2147484225" r:id="rId8"/>
    <p:sldLayoutId id="2147484226" r:id="rId9"/>
    <p:sldLayoutId id="2147484227" r:id="rId10"/>
    <p:sldLayoutId id="2147484228" r:id="rId11"/>
    <p:sldLayoutId id="2147484229" r:id="rId12"/>
    <p:sldLayoutId id="2147484230" r:id="rId13"/>
    <p:sldLayoutId id="2147484231" r:id="rId14"/>
    <p:sldLayoutId id="2147484232" r:id="rId15"/>
    <p:sldLayoutId id="2147484233" r:id="rId16"/>
    <p:sldLayoutId id="2147484234" r:id="rId17"/>
    <p:sldLayoutId id="2147484235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9467D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3474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03474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03474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474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474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80" y="762003"/>
            <a:ext cx="8351837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80" y="2008824"/>
            <a:ext cx="8351837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44" y="6372241"/>
            <a:ext cx="18473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en-US">
              <a:solidFill>
                <a:srgbClr val="0053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33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8" r:id="rId1"/>
    <p:sldLayoutId id="2147484279" r:id="rId2"/>
    <p:sldLayoutId id="2147484280" r:id="rId3"/>
    <p:sldLayoutId id="2147484281" r:id="rId4"/>
    <p:sldLayoutId id="2147484282" r:id="rId5"/>
    <p:sldLayoutId id="2147484283" r:id="rId6"/>
    <p:sldLayoutId id="2147484284" r:id="rId7"/>
    <p:sldLayoutId id="2147484285" r:id="rId8"/>
    <p:sldLayoutId id="2147484286" r:id="rId9"/>
    <p:sldLayoutId id="2147484287" r:id="rId10"/>
    <p:sldLayoutId id="2147484288" r:id="rId11"/>
    <p:sldLayoutId id="2147484289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2500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863" indent="-169863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8325" indent="-222250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41363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•"/>
        <a:defRPr sz="1600">
          <a:solidFill>
            <a:srgbClr val="141313"/>
          </a:solidFill>
          <a:latin typeface="+mn-lt"/>
          <a:ea typeface="+mn-ea"/>
        </a:defRPr>
      </a:lvl3pPr>
      <a:lvl4pPr marL="914400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–"/>
        <a:defRPr sz="1600">
          <a:solidFill>
            <a:srgbClr val="141313"/>
          </a:solidFill>
          <a:latin typeface="+mn-lt"/>
          <a:ea typeface="+mn-ea"/>
        </a:defRPr>
      </a:lvl4pPr>
      <a:lvl5pPr marL="1087438" indent="-173038" algn="l" rtl="0" eaLnBrk="0" fontAlgn="base" hangingPunct="0">
        <a:spcBef>
          <a:spcPct val="20000"/>
        </a:spcBef>
        <a:spcAft>
          <a:spcPct val="0"/>
        </a:spcAft>
        <a:buClr>
          <a:srgbClr val="A3B222"/>
        </a:buClr>
        <a:buChar char="»"/>
        <a:tabLst>
          <a:tab pos="1087438" algn="l"/>
        </a:tabLst>
        <a:defRPr sz="1400">
          <a:solidFill>
            <a:srgbClr val="141313"/>
          </a:solidFill>
          <a:latin typeface="+mn-lt"/>
          <a:ea typeface="+mn-ea"/>
        </a:defRPr>
      </a:lvl5pPr>
      <a:lvl6pPr marL="24558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6pPr>
      <a:lvl7pPr marL="29130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7pPr>
      <a:lvl8pPr marL="33702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8pPr>
      <a:lvl9pPr marL="3827463" indent="-169863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0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8.xml"/><Relationship Id="rId4" Type="http://schemas.openxmlformats.org/officeDocument/2006/relationships/chart" Target="../charts/char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1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quiry2improvement.com/publications-resources" TargetMode="Externa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s://www.caguidedpathways.org/" TargetMode="External"/><Relationship Id="rId4" Type="http://schemas.openxmlformats.org/officeDocument/2006/relationships/hyperlink" Target="http://www.aacc.nche.edu/Resources/aaccprograms/pathways/Pages/default.aspx" TargetMode="Externa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0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4"/>
            <a:ext cx="7870371" cy="3178276"/>
          </a:xfrm>
        </p:spPr>
        <p:txBody>
          <a:bodyPr anchor="t"/>
          <a:lstStyle/>
          <a:p>
            <a:r>
              <a:rPr lang="en-US" sz="4400" b="1" dirty="0"/>
              <a:t>Reimagining our Model to Improve Student Completion:</a:t>
            </a:r>
            <a:br>
              <a:rPr lang="en-US" sz="4400" b="1" dirty="0"/>
            </a:br>
            <a:r>
              <a:rPr lang="en-US" sz="4400" b="1" dirty="0"/>
              <a:t>The Guided Pathways Approach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2800" b="1" dirty="0"/>
              <a:t/>
            </a:r>
            <a:br>
              <a:rPr lang="en-US" sz="2800" b="1" dirty="0"/>
            </a:br>
            <a:endParaRPr lang="en-US" sz="2800" dirty="0"/>
          </a:p>
        </p:txBody>
      </p:sp>
      <p:sp>
        <p:nvSpPr>
          <p:cNvPr id="5" name="Subtitle 1"/>
          <p:cNvSpPr>
            <a:spLocks noGrp="1"/>
          </p:cNvSpPr>
          <p:nvPr>
            <p:ph type="subTitle" idx="1"/>
          </p:nvPr>
        </p:nvSpPr>
        <p:spPr>
          <a:xfrm>
            <a:off x="2827801" y="4481518"/>
            <a:ext cx="5943600" cy="1878802"/>
          </a:xfrm>
        </p:spPr>
        <p:txBody>
          <a:bodyPr>
            <a:normAutofit fontScale="85000" lnSpcReduction="20000"/>
          </a:bodyPr>
          <a:lstStyle/>
          <a:p>
            <a:r>
              <a:rPr lang="en-US" sz="2800" b="1" dirty="0">
                <a:solidFill>
                  <a:schemeClr val="accent1">
                    <a:lumMod val="50000"/>
                  </a:schemeClr>
                </a:solidFill>
              </a:rPr>
              <a:t>Dr. </a:t>
            </a:r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Darla M. Cooper</a:t>
            </a:r>
          </a:p>
          <a:p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Director, Research and Evaluation</a:t>
            </a:r>
          </a:p>
          <a:p>
            <a:r>
              <a:rPr lang="en-US" sz="2800" b="1" dirty="0" smtClean="0">
                <a:solidFill>
                  <a:schemeClr val="accent1">
                    <a:lumMod val="50000"/>
                  </a:schemeClr>
                </a:solidFill>
              </a:rPr>
              <a:t>The RP Group</a:t>
            </a:r>
            <a:endParaRPr lang="en-US" sz="2800" b="1" dirty="0">
              <a:solidFill>
                <a:schemeClr val="accent1">
                  <a:lumMod val="50000"/>
                </a:schemeClr>
              </a:solidFill>
            </a:endParaRPr>
          </a:p>
          <a:p>
            <a:pPr fontAlgn="auto"/>
            <a:r>
              <a:rPr lang="en-US" sz="2800" dirty="0" err="1" smtClean="0">
                <a:solidFill>
                  <a:schemeClr val="accent1">
                    <a:lumMod val="50000"/>
                  </a:schemeClr>
                </a:solidFill>
              </a:rPr>
              <a:t>ASCCC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Instructional Design </a:t>
            </a:r>
            <a:r>
              <a:rPr lang="en-US" sz="2800" dirty="0">
                <a:solidFill>
                  <a:schemeClr val="accent1">
                    <a:lumMod val="50000"/>
                  </a:schemeClr>
                </a:solidFill>
              </a:rPr>
              <a:t>and Innovation Institute</a:t>
            </a:r>
          </a:p>
          <a:p>
            <a:pPr fontAlgn="auto"/>
            <a:r>
              <a:rPr lang="en-US" sz="2800" dirty="0" smtClean="0">
                <a:solidFill>
                  <a:schemeClr val="accent1">
                    <a:lumMod val="50000"/>
                  </a:schemeClr>
                </a:solidFill>
              </a:rPr>
              <a:t>March 2017 </a:t>
            </a:r>
            <a:endParaRPr lang="en-US" sz="3600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en-US" sz="3600" dirty="0"/>
          </a:p>
          <a:p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909265390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</a:t>
            </a:r>
            <a:r>
              <a:rPr lang="en-US" dirty="0" smtClean="0"/>
              <a:t>Is </a:t>
            </a:r>
            <a:r>
              <a:rPr lang="en-US" dirty="0"/>
              <a:t>the “Pathways Model?”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1318549" y="1569334"/>
            <a:ext cx="7391400" cy="4191000"/>
          </a:xfrm>
        </p:spPr>
        <p:txBody>
          <a:bodyPr/>
          <a:lstStyle/>
          <a:p>
            <a:pPr marL="0" lvl="0" indent="0">
              <a:buNone/>
            </a:pPr>
            <a:r>
              <a:rPr lang="en-US" sz="2800" dirty="0" smtClean="0"/>
              <a:t>An </a:t>
            </a:r>
            <a:r>
              <a:rPr lang="en-US" sz="2800" u="sng" dirty="0"/>
              <a:t>integrated, institution-wide </a:t>
            </a:r>
            <a:r>
              <a:rPr lang="en-US" sz="2800" dirty="0"/>
              <a:t>approach to student success based on intentionally designed, clear, </a:t>
            </a:r>
            <a:r>
              <a:rPr lang="en-US" sz="2800" u="sng" dirty="0"/>
              <a:t>coherent and structured educational experiences</a:t>
            </a:r>
            <a:r>
              <a:rPr lang="en-US" sz="2800" dirty="0"/>
              <a:t>, informed by available evidence, that guide each student effectively and efficiently from her/his point of entry through to attainment of high-quality postsecondary credentials and careers with value in the labor market. </a:t>
            </a:r>
          </a:p>
          <a:p>
            <a:pPr marL="0" lvl="0" indent="0">
              <a:buNone/>
            </a:pP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BA0BC75-2CBB-E34B-AFE1-420B5CE7F354}" type="slidenum">
              <a:rPr lang="en-US"/>
              <a:pPr/>
              <a:t>10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216152" y="6327775"/>
            <a:ext cx="5943600" cy="2698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100" dirty="0" smtClean="0"/>
              <a:t>LA College Promise and Pathways | August 2016</a:t>
            </a:r>
            <a:endParaRPr lang="en-US" sz="110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214018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2529" y="350946"/>
            <a:ext cx="7486537" cy="5328366"/>
          </a:xfrm>
          <a:prstGeom prst="rect">
            <a:avLst/>
          </a:prstGeom>
        </p:spPr>
      </p:pic>
      <p:sp>
        <p:nvSpPr>
          <p:cNvPr id="4" name="Slide Number Placeholder 3"/>
          <p:cNvSpPr txBox="1">
            <a:spLocks/>
          </p:cNvSpPr>
          <p:nvPr/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r" defTabSz="914400" rtl="0" eaLnBrk="0" latinLnBrk="0" hangingPunct="0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615132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ur </a:t>
            </a:r>
            <a:r>
              <a:rPr lang="en-US" dirty="0"/>
              <a:t>Essential Practices of </a:t>
            </a:r>
            <a:r>
              <a:rPr lang="en-US" dirty="0" smtClean="0"/>
              <a:t>Pathways</a:t>
            </a:r>
            <a:endParaRPr 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7391400" cy="4191000"/>
          </a:xfrm>
        </p:spPr>
        <p:txBody>
          <a:bodyPr/>
          <a:lstStyle/>
          <a:p>
            <a:pPr marL="514350" lvl="0" indent="-514350">
              <a:spcAft>
                <a:spcPts val="1800"/>
              </a:spcAft>
              <a:buFont typeface="+mj-lt"/>
              <a:buAutoNum type="arabicPeriod"/>
            </a:pPr>
            <a:r>
              <a:rPr lang="en-US" sz="3200" i="1" dirty="0"/>
              <a:t>Clarify paths to </a:t>
            </a:r>
            <a:r>
              <a:rPr lang="en-US" sz="3200" i="1" dirty="0" smtClean="0"/>
              <a:t>student </a:t>
            </a:r>
            <a:r>
              <a:rPr lang="en-US" sz="3200" i="1" dirty="0"/>
              <a:t>end </a:t>
            </a:r>
            <a:r>
              <a:rPr lang="en-US" sz="3200" i="1" dirty="0" smtClean="0"/>
              <a:t>goals</a:t>
            </a:r>
          </a:p>
          <a:p>
            <a:pPr marL="514350" lvl="0" indent="-514350">
              <a:spcAft>
                <a:spcPts val="1800"/>
              </a:spcAft>
              <a:buFont typeface="+mj-lt"/>
              <a:buAutoNum type="arabicPeriod"/>
            </a:pPr>
            <a:r>
              <a:rPr lang="en-US" sz="3200" i="1" dirty="0"/>
              <a:t>Help students </a:t>
            </a:r>
            <a:r>
              <a:rPr lang="en-US" sz="3200" i="1" dirty="0" smtClean="0"/>
              <a:t>get on a pathway</a:t>
            </a:r>
          </a:p>
          <a:p>
            <a:pPr marL="514350" indent="-514350">
              <a:spcAft>
                <a:spcPts val="1800"/>
              </a:spcAft>
              <a:buFont typeface="+mj-lt"/>
              <a:buAutoNum type="arabicPeriod"/>
            </a:pPr>
            <a:r>
              <a:rPr lang="en-US" sz="3200" i="1" dirty="0" smtClean="0"/>
              <a:t>Help </a:t>
            </a:r>
            <a:r>
              <a:rPr lang="en-US" sz="3200" i="1" dirty="0"/>
              <a:t>students stay on path</a:t>
            </a:r>
          </a:p>
          <a:p>
            <a:pPr marL="514350" indent="-514350">
              <a:spcAft>
                <a:spcPts val="1800"/>
              </a:spcAft>
              <a:buFont typeface="+mj-lt"/>
              <a:buAutoNum type="arabicPeriod"/>
            </a:pPr>
            <a:r>
              <a:rPr lang="en-US" sz="3200" i="1" dirty="0" smtClean="0"/>
              <a:t>Ensure </a:t>
            </a:r>
            <a:r>
              <a:rPr lang="en-US" sz="3200" i="1" dirty="0"/>
              <a:t>that students are learning</a:t>
            </a:r>
          </a:p>
          <a:p>
            <a:pPr marL="514350" lvl="0" indent="-514350">
              <a:buFont typeface="+mj-lt"/>
              <a:buAutoNum type="arabicPeriod"/>
            </a:pPr>
            <a:endParaRPr lang="en-US" sz="320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784949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955280" cy="1371600"/>
          </a:xfrm>
        </p:spPr>
        <p:txBody>
          <a:bodyPr>
            <a:normAutofit/>
          </a:bodyPr>
          <a:lstStyle/>
          <a:p>
            <a:r>
              <a:rPr lang="en-US" dirty="0" smtClean="0"/>
              <a:t>Clarify Paths to </a:t>
            </a:r>
            <a:r>
              <a:rPr lang="en-US" dirty="0" smtClean="0"/>
              <a:t>Student </a:t>
            </a:r>
            <a:r>
              <a:rPr lang="en-US" dirty="0" smtClean="0"/>
              <a:t>End Goals:</a:t>
            </a:r>
            <a:br>
              <a:rPr lang="en-US" dirty="0" smtClean="0"/>
            </a:br>
            <a:r>
              <a:rPr lang="en-US" dirty="0" smtClean="0"/>
              <a:t>What Does It Look Like?</a:t>
            </a:r>
            <a:endParaRPr 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1339645" y="1639529"/>
            <a:ext cx="7391400" cy="4191000"/>
          </a:xfrm>
        </p:spPr>
        <p:txBody>
          <a:bodyPr>
            <a:normAutofit/>
          </a:bodyPr>
          <a:lstStyle/>
          <a:p>
            <a:pPr marL="0" lvl="0" indent="0">
              <a:buNone/>
            </a:pPr>
            <a:r>
              <a:rPr lang="en-US" sz="2800" u="sng" dirty="0" smtClean="0"/>
              <a:t>Features</a:t>
            </a:r>
            <a:r>
              <a:rPr lang="en-US" sz="2800" dirty="0" smtClean="0"/>
              <a:t>:</a:t>
            </a:r>
          </a:p>
          <a:p>
            <a:r>
              <a:rPr lang="en-US" sz="2800" dirty="0" smtClean="0"/>
              <a:t>Detailed information on target career and transfer outcomes</a:t>
            </a:r>
          </a:p>
          <a:p>
            <a:r>
              <a:rPr lang="en-US" sz="2800" dirty="0" smtClean="0"/>
              <a:t>Course sequences, critical courses, embedded credentials, and progress milestones</a:t>
            </a:r>
          </a:p>
          <a:p>
            <a:r>
              <a:rPr lang="en-US" sz="2800" dirty="0" smtClean="0"/>
              <a:t>Math and other core coursework aligned to each program of study</a:t>
            </a: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982514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p Students Get on a Pathway:</a:t>
            </a:r>
            <a:br>
              <a:rPr lang="en-US" dirty="0" smtClean="0"/>
            </a:br>
            <a:r>
              <a:rPr lang="en-US" dirty="0" smtClean="0"/>
              <a:t>What Does It Look Like?</a:t>
            </a:r>
            <a:endParaRPr 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1330123" y="1689462"/>
            <a:ext cx="7489785" cy="4342627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2800" u="sng" dirty="0" smtClean="0"/>
              <a:t>Features</a:t>
            </a:r>
            <a:r>
              <a:rPr lang="en-US" sz="2800" dirty="0" smtClean="0"/>
              <a:t>:</a:t>
            </a:r>
          </a:p>
          <a:p>
            <a:r>
              <a:rPr lang="en-US" sz="2800" dirty="0" smtClean="0"/>
              <a:t>First-year experiences to help students explore the field and choose a major</a:t>
            </a:r>
          </a:p>
          <a:p>
            <a:r>
              <a:rPr lang="en-US" sz="2800" dirty="0" smtClean="0"/>
              <a:t>Full program plans based on required career/college exploration</a:t>
            </a:r>
          </a:p>
          <a:p>
            <a:r>
              <a:rPr lang="en-US" sz="2800" dirty="0" smtClean="0"/>
              <a:t>Contextualized, integrated academic support to help students pass program gateway courses</a:t>
            </a:r>
          </a:p>
          <a:p>
            <a:r>
              <a:rPr lang="en-US" sz="2800" dirty="0" smtClean="0"/>
              <a:t>K-12 partnerships focused on career/college program exploration</a:t>
            </a:r>
            <a:endParaRPr lang="en-US" sz="280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209249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44243"/>
            <a:ext cx="7680960" cy="1371600"/>
          </a:xfrm>
        </p:spPr>
        <p:txBody>
          <a:bodyPr/>
          <a:lstStyle/>
          <a:p>
            <a:r>
              <a:rPr lang="en-US" dirty="0" smtClean="0"/>
              <a:t>Help Students Stay On Path:</a:t>
            </a:r>
            <a:br>
              <a:rPr lang="en-US" dirty="0" smtClean="0"/>
            </a:br>
            <a:r>
              <a:rPr lang="en-US" dirty="0" smtClean="0"/>
              <a:t>What Does It Look Like?</a:t>
            </a:r>
            <a:endParaRPr 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1216153" y="1474838"/>
            <a:ext cx="7673204" cy="4621161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2800" u="sng" dirty="0" smtClean="0"/>
              <a:t>Features</a:t>
            </a:r>
            <a:r>
              <a:rPr lang="en-US" sz="2800" dirty="0" smtClean="0"/>
              <a:t>:</a:t>
            </a:r>
          </a:p>
          <a:p>
            <a:r>
              <a:rPr lang="en-US" sz="2800" dirty="0" smtClean="0"/>
              <a:t>Ongoing, intrusive advising</a:t>
            </a:r>
          </a:p>
          <a:p>
            <a:r>
              <a:rPr lang="en-US" sz="2800" dirty="0" smtClean="0"/>
              <a:t>Systems for students to easily track their progress</a:t>
            </a:r>
          </a:p>
          <a:p>
            <a:r>
              <a:rPr lang="en-US" sz="2800" dirty="0" smtClean="0"/>
              <a:t>Systems/procedures to identify students at risk and provide needed supports</a:t>
            </a:r>
          </a:p>
          <a:p>
            <a:r>
              <a:rPr lang="en-US" sz="2800" dirty="0" smtClean="0"/>
              <a:t>A structure to redirect students who are not progressing in a program to a more viable path</a:t>
            </a:r>
            <a:endParaRPr lang="en-US" sz="280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6494595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11386"/>
            <a:ext cx="7680960" cy="1371600"/>
          </a:xfrm>
        </p:spPr>
        <p:txBody>
          <a:bodyPr/>
          <a:lstStyle/>
          <a:p>
            <a:r>
              <a:rPr lang="en-US" dirty="0"/>
              <a:t>Ensure </a:t>
            </a:r>
            <a:r>
              <a:rPr lang="en-US" dirty="0" smtClean="0"/>
              <a:t>That Students Are Learning:</a:t>
            </a:r>
            <a:br>
              <a:rPr lang="en-US" dirty="0" smtClean="0"/>
            </a:br>
            <a:r>
              <a:rPr lang="en-US" dirty="0" smtClean="0"/>
              <a:t>What Does It Look Like?</a:t>
            </a:r>
            <a:endParaRPr 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1295399" y="1578077"/>
            <a:ext cx="7568381" cy="4517923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US" sz="2800" u="sng" dirty="0" smtClean="0"/>
              <a:t>Features</a:t>
            </a:r>
            <a:r>
              <a:rPr lang="en-US" sz="2800" dirty="0" smtClean="0"/>
              <a:t>:</a:t>
            </a:r>
          </a:p>
          <a:p>
            <a:r>
              <a:rPr lang="en-US" sz="2800" dirty="0" smtClean="0"/>
              <a:t>Program-specific learning outcomes</a:t>
            </a:r>
          </a:p>
          <a:p>
            <a:r>
              <a:rPr lang="en-US" sz="2800" dirty="0" smtClean="0"/>
              <a:t>Project-based, collaborative learning</a:t>
            </a:r>
          </a:p>
          <a:p>
            <a:r>
              <a:rPr lang="en-US" sz="2800" dirty="0" smtClean="0"/>
              <a:t>Applied learning experience</a:t>
            </a:r>
          </a:p>
          <a:p>
            <a:r>
              <a:rPr lang="en-US" sz="2800" dirty="0" smtClean="0"/>
              <a:t>Faculty-led improvement of teaching practices</a:t>
            </a:r>
          </a:p>
          <a:p>
            <a:r>
              <a:rPr lang="en-US" sz="2800" dirty="0" smtClean="0"/>
              <a:t>Systems/procedures for the college and students to track mastery of learning outcomes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BA0BC75-2CBB-E34B-AFE1-420B5CE7F354}" type="slidenum">
              <a:rPr lang="en-US"/>
              <a:pPr/>
              <a:t>16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1216152" y="6327775"/>
            <a:ext cx="5943600" cy="2698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100" dirty="0" smtClean="0"/>
              <a:t>LA College Promise and Pathways | August 2016</a:t>
            </a:r>
            <a:endParaRPr lang="en-US" sz="110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061530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2997" y="159506"/>
            <a:ext cx="6858000" cy="762000"/>
          </a:xfrm>
        </p:spPr>
        <p:txBody>
          <a:bodyPr/>
          <a:lstStyle/>
          <a:p>
            <a:pPr algn="ctr">
              <a:defRPr/>
            </a:pPr>
            <a:r>
              <a:rPr lang="en-US" dirty="0" smtClean="0"/>
              <a:t>Six Success </a:t>
            </a:r>
            <a:r>
              <a:rPr lang="en-US" dirty="0"/>
              <a:t>F</a:t>
            </a:r>
            <a:r>
              <a:rPr lang="en-US" dirty="0" smtClean="0"/>
              <a:t>actor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76974DE6-E962-4248-893C-D4EC88601F54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92" t="15310" r="15116" b="15698"/>
          <a:stretch/>
        </p:blipFill>
        <p:spPr bwMode="auto">
          <a:xfrm>
            <a:off x="2151059" y="921506"/>
            <a:ext cx="4841875" cy="484187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545470"/>
      </p:ext>
    </p:extLst>
  </p:cSld>
  <p:clrMapOvr>
    <a:masterClrMapping/>
  </p:clrMapOvr>
  <p:transition>
    <p:dissolv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ix Success </a:t>
            </a:r>
            <a:r>
              <a:rPr lang="en-US" dirty="0"/>
              <a:t>F</a:t>
            </a:r>
            <a:r>
              <a:rPr lang="en-US" dirty="0" smtClean="0"/>
              <a:t>actors </a:t>
            </a:r>
            <a:endParaRPr lang="en-US" dirty="0"/>
          </a:p>
        </p:txBody>
      </p:sp>
      <p:sp>
        <p:nvSpPr>
          <p:cNvPr id="16387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731520" y="1488680"/>
            <a:ext cx="8102764" cy="4395925"/>
          </a:xfrm>
        </p:spPr>
        <p:txBody>
          <a:bodyPr>
            <a:normAutofit/>
          </a:bodyPr>
          <a:lstStyle/>
          <a:p>
            <a:pPr>
              <a:spcBef>
                <a:spcPts val="1800"/>
              </a:spcBef>
              <a:buSzPct val="85000"/>
              <a:buFont typeface="Wingdings" pitchFamily="2" charset="2"/>
              <a:buChar char="§"/>
              <a:defRPr/>
            </a:pPr>
            <a:r>
              <a:rPr lang="en-US" sz="3200" b="1" dirty="0" smtClean="0"/>
              <a:t>Directed</a:t>
            </a:r>
            <a:r>
              <a:rPr lang="en-US" sz="3200" dirty="0"/>
              <a:t>: </a:t>
            </a:r>
            <a:r>
              <a:rPr lang="en-US" sz="3200" b="0" dirty="0" smtClean="0"/>
              <a:t>Students have </a:t>
            </a:r>
            <a:r>
              <a:rPr lang="en-US" sz="3200" b="0" dirty="0"/>
              <a:t>a goal and know how to </a:t>
            </a:r>
            <a:r>
              <a:rPr lang="en-US" sz="3200" b="0" dirty="0" smtClean="0"/>
              <a:t>achieve it </a:t>
            </a:r>
            <a:endParaRPr lang="en-US" sz="3200" b="0" dirty="0"/>
          </a:p>
          <a:p>
            <a:pPr>
              <a:spcBef>
                <a:spcPts val="1800"/>
              </a:spcBef>
              <a:buSzPct val="85000"/>
              <a:buFont typeface="Wingdings" pitchFamily="2" charset="2"/>
              <a:buChar char="§"/>
              <a:defRPr/>
            </a:pPr>
            <a:r>
              <a:rPr lang="en-US" sz="3200" b="1" dirty="0"/>
              <a:t>Focused</a:t>
            </a:r>
            <a:r>
              <a:rPr lang="en-US" sz="3200" dirty="0"/>
              <a:t>: </a:t>
            </a:r>
            <a:r>
              <a:rPr lang="en-US" sz="3200" b="0" dirty="0" smtClean="0"/>
              <a:t>Students stay </a:t>
            </a:r>
            <a:r>
              <a:rPr lang="en-US" sz="3200" b="0" dirty="0"/>
              <a:t>on track—keeping their eyes on the </a:t>
            </a:r>
            <a:r>
              <a:rPr lang="en-US" sz="3200" b="0" dirty="0" smtClean="0"/>
              <a:t>prize</a:t>
            </a:r>
          </a:p>
          <a:p>
            <a:pPr>
              <a:spcBef>
                <a:spcPts val="1800"/>
              </a:spcBef>
              <a:buSzPct val="85000"/>
              <a:buFont typeface="Wingdings" pitchFamily="2" charset="2"/>
              <a:buChar char="§"/>
              <a:defRPr/>
            </a:pPr>
            <a:r>
              <a:rPr lang="en-US" sz="3200" b="1" dirty="0" smtClean="0"/>
              <a:t>Nurtured</a:t>
            </a:r>
            <a:r>
              <a:rPr lang="en-US" sz="3200" dirty="0"/>
              <a:t>: </a:t>
            </a:r>
            <a:r>
              <a:rPr lang="en-US" sz="3200" b="0" dirty="0" smtClean="0"/>
              <a:t>Students feel </a:t>
            </a:r>
            <a:r>
              <a:rPr lang="en-US" sz="3200" b="0" dirty="0"/>
              <a:t>somebody wants them to succeed as a student and helps them succeed</a:t>
            </a:r>
          </a:p>
          <a:p>
            <a:pPr>
              <a:defRPr/>
            </a:pPr>
            <a:endParaRPr 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76974DE6-E962-4248-893C-D4EC88601F54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189665"/>
      </p:ext>
    </p:extLst>
  </p:cSld>
  <p:clrMapOvr>
    <a:masterClrMapping/>
  </p:clrMapOvr>
  <p:transition>
    <p:dissolv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Six Success </a:t>
            </a:r>
            <a:r>
              <a:rPr lang="en-US" dirty="0"/>
              <a:t>F</a:t>
            </a:r>
            <a:r>
              <a:rPr lang="en-US" dirty="0" smtClean="0"/>
              <a:t>actors (</a:t>
            </a:r>
            <a:r>
              <a:rPr lang="en-US" i="1" dirty="0" smtClean="0"/>
              <a:t>cont.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16387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731519" y="1401025"/>
            <a:ext cx="8206003" cy="4365593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  <a:buSzPct val="85000"/>
              <a:buFont typeface="Wingdings" pitchFamily="2" charset="2"/>
              <a:buChar char="§"/>
              <a:defRPr/>
            </a:pPr>
            <a:r>
              <a:rPr lang="en-US" sz="3000" b="1" dirty="0" smtClean="0"/>
              <a:t>Connected</a:t>
            </a:r>
            <a:r>
              <a:rPr lang="en-US" sz="3000" dirty="0" smtClean="0"/>
              <a:t>: </a:t>
            </a:r>
            <a:r>
              <a:rPr lang="en-US" sz="3000" b="0" dirty="0" smtClean="0"/>
              <a:t>Students </a:t>
            </a:r>
            <a:r>
              <a:rPr lang="en-US" sz="3000" b="0" dirty="0"/>
              <a:t>feel they are part of the college </a:t>
            </a:r>
            <a:r>
              <a:rPr lang="en-US" sz="3000" b="0" dirty="0" smtClean="0"/>
              <a:t>community</a:t>
            </a:r>
          </a:p>
          <a:p>
            <a:pPr>
              <a:spcBef>
                <a:spcPts val="1800"/>
              </a:spcBef>
              <a:buSzPct val="85000"/>
              <a:buFont typeface="Wingdings" pitchFamily="2" charset="2"/>
              <a:buChar char="§"/>
              <a:defRPr/>
            </a:pPr>
            <a:r>
              <a:rPr lang="en-US" sz="3000" b="1" dirty="0" smtClean="0"/>
              <a:t>Engaged</a:t>
            </a:r>
            <a:r>
              <a:rPr lang="en-US" sz="3000" dirty="0"/>
              <a:t>: </a:t>
            </a:r>
            <a:r>
              <a:rPr lang="en-US" sz="3000" b="0" dirty="0" smtClean="0"/>
              <a:t>Students actively </a:t>
            </a:r>
            <a:r>
              <a:rPr lang="en-US" sz="3000" b="0" dirty="0"/>
              <a:t>listen and participate in class and are involved in extracurricular activities</a:t>
            </a:r>
          </a:p>
          <a:p>
            <a:pPr>
              <a:spcBef>
                <a:spcPts val="1800"/>
              </a:spcBef>
              <a:buSzPct val="85000"/>
              <a:buFont typeface="Wingdings" pitchFamily="2" charset="2"/>
              <a:buChar char="§"/>
              <a:defRPr/>
            </a:pPr>
            <a:r>
              <a:rPr lang="en-US" sz="3000" b="1" dirty="0" smtClean="0"/>
              <a:t>Valued</a:t>
            </a:r>
            <a:r>
              <a:rPr lang="en-US" sz="3000" dirty="0" smtClean="0"/>
              <a:t>: </a:t>
            </a:r>
            <a:r>
              <a:rPr lang="en-US" sz="3000" b="0" dirty="0" smtClean="0"/>
              <a:t>Students</a:t>
            </a:r>
            <a:r>
              <a:rPr lang="en-US" sz="3000" b="0" dirty="0"/>
              <a:t>’ skills, talents, abilities and experiences are recognized; they have opportunities to contribute on campus and feel their contributions are appreciated</a:t>
            </a:r>
            <a:endParaRPr lang="en-US" sz="3000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76974DE6-E962-4248-893C-D4EC88601F54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032663"/>
      </p:ext>
    </p:extLst>
  </p:cSld>
  <p:clrMapOvr>
    <a:masterClrMapping/>
  </p:clrMapOvr>
  <p:transition>
    <p:dissolv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457200"/>
            <a:ext cx="8305800" cy="700268"/>
          </a:xfrm>
        </p:spPr>
        <p:txBody>
          <a:bodyPr>
            <a:normAutofit/>
          </a:bodyPr>
          <a:lstStyle/>
          <a:p>
            <a:r>
              <a:rPr lang="en-US" dirty="0" smtClean="0"/>
              <a:t>Acknowledg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800600"/>
          </a:xfrm>
        </p:spPr>
        <p:txBody>
          <a:bodyPr>
            <a:normAutofit/>
          </a:bodyPr>
          <a:lstStyle/>
          <a:p>
            <a:pPr marL="0" indent="0">
              <a:buClr>
                <a:srgbClr val="2C7D88"/>
              </a:buClr>
              <a:buNone/>
            </a:pPr>
            <a:r>
              <a:rPr lang="en-US" sz="3200" dirty="0" smtClean="0"/>
              <a:t>This </a:t>
            </a:r>
            <a:r>
              <a:rPr lang="en-US" sz="3200" dirty="0"/>
              <a:t>presentation </a:t>
            </a:r>
            <a:r>
              <a:rPr lang="en-US" sz="3200" dirty="0" smtClean="0"/>
              <a:t>includes content developed by:</a:t>
            </a:r>
          </a:p>
          <a:p>
            <a:pPr lvl="1">
              <a:buClr>
                <a:srgbClr val="2C7D88"/>
              </a:buClr>
            </a:pPr>
            <a:r>
              <a:rPr lang="en-US" sz="2800" dirty="0" smtClean="0"/>
              <a:t>Dr</a:t>
            </a:r>
            <a:r>
              <a:rPr lang="en-US" sz="2800" dirty="0"/>
              <a:t>. Davis Jenkins </a:t>
            </a:r>
            <a:r>
              <a:rPr lang="en-US" sz="2800" dirty="0" smtClean="0"/>
              <a:t>(CCRC)</a:t>
            </a:r>
          </a:p>
          <a:p>
            <a:pPr lvl="1">
              <a:buClr>
                <a:srgbClr val="2C7D88"/>
              </a:buClr>
            </a:pPr>
            <a:r>
              <a:rPr lang="en-US" sz="2800" dirty="0" smtClean="0"/>
              <a:t>Dr</a:t>
            </a:r>
            <a:r>
              <a:rPr lang="en-US" sz="2800" dirty="0"/>
              <a:t>. Rob Johnstone </a:t>
            </a:r>
            <a:r>
              <a:rPr lang="en-US" sz="2800" dirty="0" smtClean="0"/>
              <a:t>(NCII)</a:t>
            </a:r>
          </a:p>
          <a:p>
            <a:pPr lvl="1">
              <a:buClr>
                <a:srgbClr val="2C7D88"/>
              </a:buClr>
            </a:pPr>
            <a:r>
              <a:rPr lang="en-US" sz="2800" dirty="0" smtClean="0"/>
              <a:t>AACC Pathways Project</a:t>
            </a:r>
          </a:p>
          <a:p>
            <a:pPr lvl="1">
              <a:buClr>
                <a:srgbClr val="2C7D88"/>
              </a:buClr>
            </a:pPr>
            <a:r>
              <a:rPr lang="en-US" sz="2800" dirty="0" smtClean="0"/>
              <a:t>CA Guided Pathways Project</a:t>
            </a:r>
          </a:p>
          <a:p>
            <a:pPr marL="1004888" lvl="1" indent="-457200">
              <a:buFont typeface="Wingdings" panose="05000000000000000000" pitchFamily="2" charset="2"/>
              <a:buChar char="v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803231"/>
      </p:ext>
    </p:extLst>
  </p:cSld>
  <p:clrMapOvr>
    <a:masterClrMapping/>
  </p:clrMapOvr>
  <p:transition>
    <p:dissolv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55818"/>
            <a:ext cx="7680960" cy="889363"/>
          </a:xfrm>
        </p:spPr>
        <p:txBody>
          <a:bodyPr>
            <a:noAutofit/>
          </a:bodyPr>
          <a:lstStyle/>
          <a:p>
            <a:r>
              <a:rPr lang="en-US" dirty="0"/>
              <a:t>Crosswalk: Success Factors and </a:t>
            </a:r>
            <a:br>
              <a:rPr lang="en-US" dirty="0"/>
            </a:br>
            <a:r>
              <a:rPr lang="en-US" dirty="0"/>
              <a:t>Guided Pathways</a:t>
            </a:r>
            <a:endParaRPr lang="en-US" dirty="0"/>
          </a:p>
        </p:txBody>
      </p:sp>
      <p:sp>
        <p:nvSpPr>
          <p:cNvPr id="12291" name="Content Placeholder 2"/>
          <p:cNvSpPr>
            <a:spLocks noGrp="1"/>
          </p:cNvSpPr>
          <p:nvPr>
            <p:ph type="body" sz="quarter" idx="12"/>
          </p:nvPr>
        </p:nvSpPr>
        <p:spPr>
          <a:xfrm>
            <a:off x="299418" y="1435944"/>
            <a:ext cx="8726906" cy="4881563"/>
          </a:xfrm>
        </p:spPr>
        <p:txBody>
          <a:bodyPr>
            <a:normAutofit fontScale="70000" lnSpcReduction="20000"/>
          </a:bodyPr>
          <a:lstStyle/>
          <a:p>
            <a:pPr marL="514350" lvl="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4000" dirty="0"/>
              <a:t>Clarify paths to </a:t>
            </a:r>
            <a:r>
              <a:rPr lang="en-US" sz="4000" dirty="0" smtClean="0"/>
              <a:t>student </a:t>
            </a:r>
            <a:r>
              <a:rPr lang="en-US" sz="4000" dirty="0"/>
              <a:t>end </a:t>
            </a:r>
            <a:r>
              <a:rPr lang="en-US" sz="4000" dirty="0" smtClean="0"/>
              <a:t>goals</a:t>
            </a:r>
          </a:p>
          <a:p>
            <a:pPr marL="914400" lvl="1" indent="-5143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400" i="1" dirty="0" smtClean="0"/>
              <a:t>Directed</a:t>
            </a:r>
            <a:endParaRPr lang="en-US" sz="3400" i="1" dirty="0" smtClean="0"/>
          </a:p>
          <a:p>
            <a:pPr marL="514350" lvl="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4000" dirty="0"/>
              <a:t>Help students choose and enter a </a:t>
            </a:r>
            <a:r>
              <a:rPr lang="en-US" sz="4000" dirty="0" smtClean="0"/>
              <a:t>pathway</a:t>
            </a:r>
          </a:p>
          <a:p>
            <a:pPr marL="914400" lvl="1" indent="-5143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400" i="1" dirty="0" smtClean="0"/>
              <a:t>Directed, Focused, Connected, </a:t>
            </a:r>
            <a:r>
              <a:rPr lang="en-US" sz="3400" i="1" dirty="0" smtClean="0"/>
              <a:t>Nurtured, Engaged</a:t>
            </a:r>
            <a:endParaRPr lang="en-US" sz="3400" i="1" dirty="0" smtClean="0"/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4000" b="1" dirty="0" smtClean="0"/>
              <a:t>Help students stay on path</a:t>
            </a:r>
          </a:p>
          <a:p>
            <a:pPr marL="914400" lvl="1" indent="-5143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400" b="1" i="1" dirty="0" smtClean="0"/>
              <a:t>Directed, Focused</a:t>
            </a:r>
            <a:r>
              <a:rPr lang="en-US" sz="3400" b="1" i="1" dirty="0" smtClean="0"/>
              <a:t>, </a:t>
            </a:r>
            <a:r>
              <a:rPr lang="en-US" sz="3400" b="1" i="1" dirty="0" smtClean="0"/>
              <a:t>Connected</a:t>
            </a:r>
            <a:r>
              <a:rPr lang="en-US" sz="3400" b="1" i="1" dirty="0" smtClean="0"/>
              <a:t>, </a:t>
            </a:r>
            <a:r>
              <a:rPr lang="en-US" sz="3400" b="1" i="1" dirty="0" smtClean="0"/>
              <a:t>Nurtured</a:t>
            </a:r>
            <a:endParaRPr lang="en-US" sz="3400" b="1" i="1" dirty="0"/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3800" dirty="0" smtClean="0"/>
              <a:t>Ensure </a:t>
            </a:r>
            <a:r>
              <a:rPr lang="en-US" sz="3800" dirty="0"/>
              <a:t>that students are </a:t>
            </a:r>
            <a:r>
              <a:rPr lang="en-US" sz="3800" dirty="0" smtClean="0"/>
              <a:t>learning</a:t>
            </a:r>
          </a:p>
          <a:p>
            <a:pPr marL="914400" lvl="1" indent="-5143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3400" i="1" dirty="0" smtClean="0"/>
              <a:t>Directed, Focused</a:t>
            </a:r>
            <a:r>
              <a:rPr lang="en-US" sz="3400" i="1" dirty="0" smtClean="0"/>
              <a:t>, Engaged, Connected, Valued, Nurtured</a:t>
            </a:r>
            <a:endParaRPr lang="en-US" sz="34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6BA0BC75-2CBB-E34B-AFE1-420B5CE7F354}" type="slidenum">
              <a:rPr lang="en-US"/>
              <a:pPr/>
              <a:t>20</a:t>
            </a:fld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43892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2800" dirty="0"/>
              <a:t>Tennessee Community College Syste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rly Outcomes Data on Guided Pathways Refo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155977"/>
      </p:ext>
    </p:extLst>
  </p:cSld>
  <p:clrMapOvr>
    <a:masterClrMapping/>
  </p:clrMapOvr>
  <p:transition>
    <p:dissolv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Shape 396"/>
          <p:cNvSpPr/>
          <p:nvPr/>
        </p:nvSpPr>
        <p:spPr>
          <a:xfrm>
            <a:off x="1864876" y="652535"/>
            <a:ext cx="5414363" cy="4827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431" tIns="35431" rIns="35431" bIns="35431" anchor="ctr">
            <a:spAutoFit/>
          </a:bodyPr>
          <a:lstStyle>
            <a:lvl1pPr algn="ctr">
              <a:defRPr sz="3800" b="1"/>
            </a:lvl1pPr>
          </a:lstStyle>
          <a:p>
            <a:pPr defTabSz="642915"/>
            <a:r>
              <a:rPr sz="2672" kern="0">
                <a:solidFill>
                  <a:sysClr val="windowText" lastClr="000000"/>
                </a:solidFill>
              </a:rPr>
              <a:t>Community College Graduation Rates</a:t>
            </a:r>
          </a:p>
        </p:txBody>
      </p:sp>
      <p:graphicFrame>
        <p:nvGraphicFramePr>
          <p:cNvPr id="397" name="Chart 397"/>
          <p:cNvGraphicFramePr/>
          <p:nvPr/>
        </p:nvGraphicFramePr>
        <p:xfrm>
          <a:off x="4668697" y="1738015"/>
          <a:ext cx="3458768" cy="38105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00" name="Group 400"/>
          <p:cNvGrpSpPr/>
          <p:nvPr/>
        </p:nvGrpSpPr>
        <p:grpSpPr>
          <a:xfrm>
            <a:off x="753200" y="2326831"/>
            <a:ext cx="3621225" cy="310214"/>
            <a:chOff x="0" y="-4549"/>
            <a:chExt cx="5150188" cy="441192"/>
          </a:xfrm>
        </p:grpSpPr>
        <p:sp>
          <p:nvSpPr>
            <p:cNvPr id="398" name="Shape 398"/>
            <p:cNvSpPr/>
            <p:nvPr/>
          </p:nvSpPr>
          <p:spPr>
            <a:xfrm>
              <a:off x="344312" y="-4549"/>
              <a:ext cx="4805876" cy="4411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 defTabSz="642915">
                <a:defRPr sz="2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r>
                <a:rPr sz="1547" kern="0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1</a:t>
              </a:r>
              <a:r>
                <a:rPr sz="1547" kern="0" baseline="31999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st</a:t>
              </a:r>
              <a:r>
                <a:rPr sz="1547" kern="0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 yr - Did not attempt 9hrs in focus area</a:t>
              </a:r>
            </a:p>
          </p:txBody>
        </p:sp>
        <p:sp>
          <p:nvSpPr>
            <p:cNvPr id="399" name="Shape 399"/>
            <p:cNvSpPr/>
            <p:nvPr/>
          </p:nvSpPr>
          <p:spPr>
            <a:xfrm>
              <a:off x="0" y="70224"/>
              <a:ext cx="241300" cy="291352"/>
            </a:xfrm>
            <a:prstGeom prst="rect">
              <a:avLst/>
            </a:prstGeom>
            <a:gradFill flip="none" rotWithShape="1">
              <a:gsLst>
                <a:gs pos="0">
                  <a:schemeClr val="accent1">
                    <a:satOff val="-3355"/>
                    <a:lumOff val="26614"/>
                  </a:schemeClr>
                </a:gs>
                <a:gs pos="100000">
                  <a:schemeClr val="accent1"/>
                </a:gs>
              </a:gsLst>
              <a:lin ang="5400000" scaled="0"/>
            </a:gra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txBody>
            <a:bodyPr wrap="square" lIns="35719" tIns="35719" rIns="35719" bIns="35719" numCol="1" anchor="ctr">
              <a:noAutofit/>
            </a:bodyPr>
            <a:lstStyle/>
            <a:p>
              <a:pPr algn="ctr" defTabSz="407643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 sz="2812" kern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j-lt"/>
                <a:ea typeface="+mj-ea"/>
                <a:cs typeface="+mj-cs"/>
                <a:sym typeface="Gill Sans"/>
              </a:endParaRPr>
            </a:p>
          </p:txBody>
        </p:sp>
      </p:grpSp>
      <p:grpSp>
        <p:nvGrpSpPr>
          <p:cNvPr id="403" name="Group 403"/>
          <p:cNvGrpSpPr/>
          <p:nvPr/>
        </p:nvGrpSpPr>
        <p:grpSpPr>
          <a:xfrm>
            <a:off x="753201" y="3273894"/>
            <a:ext cx="3210856" cy="310214"/>
            <a:chOff x="0" y="-4549"/>
            <a:chExt cx="4566548" cy="441192"/>
          </a:xfrm>
        </p:grpSpPr>
        <p:sp>
          <p:nvSpPr>
            <p:cNvPr id="401" name="Shape 401"/>
            <p:cNvSpPr/>
            <p:nvPr/>
          </p:nvSpPr>
          <p:spPr>
            <a:xfrm>
              <a:off x="344311" y="-4549"/>
              <a:ext cx="4222237" cy="4411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 defTabSz="642915">
                <a:defRPr sz="2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r>
                <a:rPr sz="1547" kern="0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1</a:t>
              </a:r>
              <a:r>
                <a:rPr sz="1547" kern="0" baseline="31999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st</a:t>
              </a:r>
              <a:r>
                <a:rPr sz="1547" kern="0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 yr - Attempted 9hrs in focus area</a:t>
              </a:r>
            </a:p>
          </p:txBody>
        </p:sp>
        <p:sp>
          <p:nvSpPr>
            <p:cNvPr id="402" name="Shape 402"/>
            <p:cNvSpPr/>
            <p:nvPr/>
          </p:nvSpPr>
          <p:spPr>
            <a:xfrm>
              <a:off x="0" y="70224"/>
              <a:ext cx="241300" cy="291352"/>
            </a:xfrm>
            <a:prstGeom prst="rect">
              <a:avLst/>
            </a:prstGeom>
            <a:gradFill flip="none" rotWithShape="1">
              <a:gsLst>
                <a:gs pos="0">
                  <a:schemeClr val="accent2">
                    <a:hueOff val="-2473792"/>
                    <a:satOff val="-50209"/>
                    <a:lumOff val="23543"/>
                  </a:schemeClr>
                </a:gs>
                <a:gs pos="100000">
                  <a:schemeClr val="accent2"/>
                </a:gs>
              </a:gsLst>
              <a:lin ang="5400000" scaled="0"/>
            </a:gra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txBody>
            <a:bodyPr wrap="square" lIns="35719" tIns="35719" rIns="35719" bIns="35719" numCol="1" anchor="ctr">
              <a:noAutofit/>
            </a:bodyPr>
            <a:lstStyle/>
            <a:p>
              <a:pPr algn="ctr" defTabSz="407643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 sz="2812" kern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j-lt"/>
                <a:ea typeface="+mj-ea"/>
                <a:cs typeface="+mj-cs"/>
                <a:sym typeface="Gill Sans"/>
              </a:endParaRPr>
            </a:p>
          </p:txBody>
        </p:sp>
      </p:grpSp>
      <p:grpSp>
        <p:nvGrpSpPr>
          <p:cNvPr id="406" name="Group 406"/>
          <p:cNvGrpSpPr/>
          <p:nvPr/>
        </p:nvGrpSpPr>
        <p:grpSpPr>
          <a:xfrm>
            <a:off x="753202" y="4220956"/>
            <a:ext cx="2899874" cy="310214"/>
            <a:chOff x="0" y="-4549"/>
            <a:chExt cx="4124263" cy="441192"/>
          </a:xfrm>
        </p:grpSpPr>
        <p:sp>
          <p:nvSpPr>
            <p:cNvPr id="404" name="Shape 404"/>
            <p:cNvSpPr/>
            <p:nvPr/>
          </p:nvSpPr>
          <p:spPr>
            <a:xfrm>
              <a:off x="344311" y="-4549"/>
              <a:ext cx="3779952" cy="44119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 defTabSz="642915">
                <a:defRPr sz="2200"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r>
                <a:rPr sz="1547" kern="0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1</a:t>
              </a:r>
              <a:r>
                <a:rPr sz="1547" kern="0" baseline="31999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st</a:t>
              </a:r>
              <a:r>
                <a:rPr sz="1547" kern="0">
                  <a:solidFill>
                    <a:sysClr val="windowText" lastClr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rPr>
                <a:t> yr - Earned 9hrs in focus area</a:t>
              </a:r>
            </a:p>
          </p:txBody>
        </p:sp>
        <p:sp>
          <p:nvSpPr>
            <p:cNvPr id="405" name="Shape 405"/>
            <p:cNvSpPr/>
            <p:nvPr/>
          </p:nvSpPr>
          <p:spPr>
            <a:xfrm>
              <a:off x="0" y="70224"/>
              <a:ext cx="241300" cy="291352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satOff val="18648"/>
                    <a:lumOff val="5971"/>
                  </a:schemeClr>
                </a:gs>
                <a:gs pos="100000">
                  <a:schemeClr val="accent3"/>
                </a:gs>
              </a:gsLst>
              <a:lin ang="5400000" scaled="0"/>
            </a:gradFill>
            <a:ln w="12700" cap="flat">
              <a:noFill/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</p:spPr>
          <p:txBody>
            <a:bodyPr wrap="square" lIns="35719" tIns="35719" rIns="35719" bIns="35719" numCol="1" anchor="ctr">
              <a:noAutofit/>
            </a:bodyPr>
            <a:lstStyle/>
            <a:p>
              <a:pPr algn="ctr" defTabSz="407643">
                <a:defRPr sz="4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  <a:latin typeface="+mj-lt"/>
                  <a:ea typeface="+mj-ea"/>
                  <a:cs typeface="+mj-cs"/>
                  <a:sym typeface="Gill Sans"/>
                </a:defRPr>
              </a:pPr>
              <a:endParaRPr sz="2812" kern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j-lt"/>
                <a:ea typeface="+mj-ea"/>
                <a:cs typeface="+mj-cs"/>
                <a:sym typeface="Gill Sans"/>
              </a:endParaRPr>
            </a:p>
          </p:txBody>
        </p:sp>
      </p:grpSp>
      <p:sp>
        <p:nvSpPr>
          <p:cNvPr id="13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22757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chemeClr val="bg1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US" sz="1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884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E6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Shape 436"/>
          <p:cNvSpPr/>
          <p:nvPr/>
        </p:nvSpPr>
        <p:spPr>
          <a:xfrm>
            <a:off x="616226" y="-5333"/>
            <a:ext cx="8001000" cy="1364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5431" tIns="35431" rIns="35431" bIns="35431" anchor="ctr">
            <a:spAutoFit/>
          </a:bodyPr>
          <a:lstStyle/>
          <a:p>
            <a:pPr algn="ctr" defTabSz="642915">
              <a:defRPr sz="2900" b="1"/>
            </a:pPr>
            <a:r>
              <a:rPr sz="2800" b="1" kern="0" dirty="0">
                <a:solidFill>
                  <a:sysClr val="windowText" lastClr="000000"/>
                </a:solidFill>
              </a:rPr>
              <a:t>Incoming Freshmen who successfully </a:t>
            </a:r>
            <a:br>
              <a:rPr sz="2800" b="1" kern="0" dirty="0">
                <a:solidFill>
                  <a:sysClr val="windowText" lastClr="000000"/>
                </a:solidFill>
              </a:rPr>
            </a:br>
            <a:r>
              <a:rPr sz="2800" b="1" kern="0" dirty="0">
                <a:solidFill>
                  <a:sysClr val="windowText" lastClr="000000"/>
                </a:solidFill>
              </a:rPr>
              <a:t>completed at least 9 hours in their focus </a:t>
            </a:r>
          </a:p>
          <a:p>
            <a:pPr algn="ctr" defTabSz="642915">
              <a:defRPr sz="2900" b="1"/>
            </a:pPr>
            <a:r>
              <a:rPr sz="2800" b="1" kern="0" dirty="0">
                <a:solidFill>
                  <a:sysClr val="windowText" lastClr="000000"/>
                </a:solidFill>
              </a:rPr>
              <a:t>during their 1</a:t>
            </a:r>
            <a:r>
              <a:rPr sz="2800" b="1" kern="0" baseline="31999" dirty="0">
                <a:solidFill>
                  <a:sysClr val="windowText" lastClr="000000"/>
                </a:solidFill>
              </a:rPr>
              <a:t>st </a:t>
            </a:r>
            <a:r>
              <a:rPr sz="2800" b="1" kern="0" dirty="0">
                <a:solidFill>
                  <a:sysClr val="windowText" lastClr="000000"/>
                </a:solidFill>
              </a:rPr>
              <a:t>Academic Year</a:t>
            </a:r>
          </a:p>
        </p:txBody>
      </p:sp>
      <p:graphicFrame>
        <p:nvGraphicFramePr>
          <p:cNvPr id="437" name="Chart 437"/>
          <p:cNvGraphicFramePr/>
          <p:nvPr>
            <p:extLst>
              <p:ext uri="{D42A27DB-BD31-4B8C-83A1-F6EECF244321}">
                <p14:modId xmlns:p14="http://schemas.microsoft.com/office/powerpoint/2010/main" val="1673999815"/>
              </p:ext>
            </p:extLst>
          </p:nvPr>
        </p:nvGraphicFramePr>
        <p:xfrm>
          <a:off x="365380" y="1683856"/>
          <a:ext cx="6967896" cy="4735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38" name="Shape 438"/>
          <p:cNvSpPr/>
          <p:nvPr/>
        </p:nvSpPr>
        <p:spPr>
          <a:xfrm flipV="1">
            <a:off x="2256786" y="2783729"/>
            <a:ext cx="1502714" cy="1126802"/>
          </a:xfrm>
          <a:prstGeom prst="line">
            <a:avLst/>
          </a:prstGeom>
          <a:ln w="25400">
            <a:solidFill>
              <a:srgbClr val="000000"/>
            </a:solidFill>
            <a:miter lim="400000"/>
            <a:tailEnd type="triangle"/>
          </a:ln>
        </p:spPr>
        <p:txBody>
          <a:bodyPr lIns="35431" tIns="35431" rIns="35431" bIns="35431" anchor="ctr"/>
          <a:lstStyle/>
          <a:p>
            <a:pPr algn="ctr" defTabSz="407643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j-lt"/>
                <a:ea typeface="+mj-ea"/>
                <a:cs typeface="+mj-cs"/>
                <a:sym typeface="Gill Sans"/>
              </a:defRPr>
            </a:pPr>
            <a:endParaRPr sz="2812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+mj-lt"/>
              <a:ea typeface="+mj-ea"/>
              <a:cs typeface="+mj-cs"/>
              <a:sym typeface="Gill Sans"/>
            </a:endParaRPr>
          </a:p>
        </p:txBody>
      </p:sp>
      <p:sp>
        <p:nvSpPr>
          <p:cNvPr id="439" name="Shape 439"/>
          <p:cNvSpPr/>
          <p:nvPr/>
        </p:nvSpPr>
        <p:spPr>
          <a:xfrm rot="19378522">
            <a:off x="2560876" y="3096730"/>
            <a:ext cx="784891" cy="223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431" tIns="35431" rIns="35431" bIns="35431" anchor="ctr">
            <a:spAutoFit/>
          </a:bodyPr>
          <a:lstStyle>
            <a:lvl1pPr>
              <a:defRPr sz="1400" b="1"/>
            </a:lvl1pPr>
          </a:lstStyle>
          <a:p>
            <a:pPr defTabSz="642915"/>
            <a:r>
              <a:rPr sz="984" kern="0">
                <a:solidFill>
                  <a:sysClr val="windowText" lastClr="000000"/>
                </a:solidFill>
              </a:rPr>
              <a:t>56 % increase</a:t>
            </a:r>
          </a:p>
        </p:txBody>
      </p:sp>
      <p:graphicFrame>
        <p:nvGraphicFramePr>
          <p:cNvPr id="440" name="Chart 440"/>
          <p:cNvGraphicFramePr/>
          <p:nvPr>
            <p:extLst>
              <p:ext uri="{D42A27DB-BD31-4B8C-83A1-F6EECF244321}">
                <p14:modId xmlns:p14="http://schemas.microsoft.com/office/powerpoint/2010/main" val="2409577653"/>
              </p:ext>
            </p:extLst>
          </p:nvPr>
        </p:nvGraphicFramePr>
        <p:xfrm>
          <a:off x="4734652" y="1737386"/>
          <a:ext cx="4250322" cy="41766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1" name="Shape 441"/>
          <p:cNvSpPr/>
          <p:nvPr/>
        </p:nvSpPr>
        <p:spPr>
          <a:xfrm flipV="1">
            <a:off x="6604980" y="3120887"/>
            <a:ext cx="1703448" cy="1335118"/>
          </a:xfrm>
          <a:prstGeom prst="line">
            <a:avLst/>
          </a:prstGeom>
          <a:ln w="25400">
            <a:solidFill>
              <a:srgbClr val="000000"/>
            </a:solidFill>
            <a:miter lim="400000"/>
            <a:tailEnd type="triangle"/>
          </a:ln>
        </p:spPr>
        <p:txBody>
          <a:bodyPr lIns="35431" tIns="35431" rIns="35431" bIns="35431" anchor="ctr"/>
          <a:lstStyle/>
          <a:p>
            <a:pPr algn="ctr" defTabSz="407643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j-lt"/>
                <a:ea typeface="+mj-ea"/>
                <a:cs typeface="+mj-cs"/>
                <a:sym typeface="Gill Sans"/>
              </a:defRPr>
            </a:pPr>
            <a:endParaRPr sz="2812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+mj-lt"/>
              <a:ea typeface="+mj-ea"/>
              <a:cs typeface="+mj-cs"/>
              <a:sym typeface="Gill Sans"/>
            </a:endParaRPr>
          </a:p>
        </p:txBody>
      </p:sp>
      <p:sp>
        <p:nvSpPr>
          <p:cNvPr id="442" name="Shape 442"/>
          <p:cNvSpPr/>
          <p:nvPr/>
        </p:nvSpPr>
        <p:spPr>
          <a:xfrm rot="19068679">
            <a:off x="6939721" y="3558206"/>
            <a:ext cx="820157" cy="223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431" tIns="35431" rIns="35431" bIns="35431" anchor="ctr">
            <a:spAutoFit/>
          </a:bodyPr>
          <a:lstStyle>
            <a:lvl1pPr>
              <a:defRPr sz="1400" b="1"/>
            </a:lvl1pPr>
          </a:lstStyle>
          <a:p>
            <a:pPr defTabSz="642915"/>
            <a:r>
              <a:rPr lang="en-US" sz="984" kern="0" dirty="0">
                <a:solidFill>
                  <a:sysClr val="windowText" lastClr="000000"/>
                </a:solidFill>
              </a:rPr>
              <a:t>123</a:t>
            </a:r>
            <a:r>
              <a:rPr sz="984" kern="0" dirty="0">
                <a:solidFill>
                  <a:sysClr val="windowText" lastClr="000000"/>
                </a:solidFill>
              </a:rPr>
              <a:t>% increas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rgbClr val="898989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US" sz="1200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713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72717" y="2441781"/>
            <a:ext cx="6803136" cy="2241717"/>
          </a:xfrm>
        </p:spPr>
        <p:txBody>
          <a:bodyPr/>
          <a:lstStyle/>
          <a:p>
            <a:r>
              <a:rPr lang="en-US" sz="4400" dirty="0"/>
              <a:t>Demystifying Guided Pathways: </a:t>
            </a:r>
            <a:br>
              <a:rPr lang="en-US" sz="4400" dirty="0"/>
            </a:br>
            <a:r>
              <a:rPr lang="en-US" sz="4400" dirty="0">
                <a:effectLst/>
              </a:rPr>
              <a:t>Exploring Ten Commonly Asked Questions about Implementing Pathways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2476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186908"/>
          </a:xfrm>
        </p:spPr>
        <p:txBody>
          <a:bodyPr>
            <a:noAutofit/>
          </a:bodyPr>
          <a:lstStyle/>
          <a:p>
            <a:r>
              <a:rPr lang="en-US" dirty="0"/>
              <a:t>Demystifying Guided Pathways Paper</a:t>
            </a:r>
            <a:br>
              <a:rPr lang="en-US" dirty="0"/>
            </a:br>
            <a:r>
              <a:rPr lang="en-US" dirty="0"/>
              <a:t>By Rob Johnsto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551007"/>
            <a:ext cx="8385858" cy="4511465"/>
          </a:xfrm>
        </p:spPr>
        <p:txBody>
          <a:bodyPr>
            <a:normAutofit/>
          </a:bodyPr>
          <a:lstStyle/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/>
              <a:t>Released </a:t>
            </a:r>
            <a:r>
              <a:rPr lang="en-US" dirty="0" smtClean="0"/>
              <a:t>in November </a:t>
            </a:r>
            <a:r>
              <a:rPr lang="en-US" dirty="0"/>
              <a:t>2015 by NCII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/>
              <a:t>Companion to </a:t>
            </a:r>
            <a:r>
              <a:rPr lang="en-US" dirty="0" smtClean="0"/>
              <a:t>CCRC Pathways book</a:t>
            </a:r>
            <a:endParaRPr lang="en-US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 smtClean="0"/>
              <a:t>Designed </a:t>
            </a:r>
            <a:r>
              <a:rPr lang="en-US" dirty="0"/>
              <a:t>to address questions NCII, CCRC, JFF, and Public Agenda have heard in hundreds of guided pathways sessions with faculty, student services </a:t>
            </a:r>
            <a:r>
              <a:rPr lang="en-US" dirty="0" smtClean="0"/>
              <a:t>professionals, </a:t>
            </a:r>
            <a:r>
              <a:rPr lang="en-US" dirty="0"/>
              <a:t>and administrators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dirty="0"/>
              <a:t>Not the defining word – just food for thought!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243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55371" y="1668065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1 - Isn’t college a meritocracy, where the strong / smart succeed, and the weak / underprepared / unmotivated don’t succeed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Model of higher education relatively </a:t>
            </a:r>
            <a:r>
              <a:rPr lang="en-US" sz="3200" dirty="0" smtClean="0"/>
              <a:t>unchanged</a:t>
            </a:r>
            <a:endParaRPr lang="en-US" sz="32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0622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64771" y="1668065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2 – Isn’t “free choice” the cornerstone of American higher education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Behavioral economics and social psychology research on number of choices and </a:t>
            </a:r>
            <a:r>
              <a:rPr lang="en-US" sz="3200" dirty="0" smtClean="0"/>
              <a:t>rationality</a:t>
            </a:r>
            <a:endParaRPr lang="en-US" sz="32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7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9396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668065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3 – Won’t we sacrifice quality when we move to guided pathways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Random </a:t>
            </a:r>
            <a:r>
              <a:rPr lang="en-US" sz="3200" dirty="0"/>
              <a:t>assignment of GE package vs. “fit”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8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3002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64771" y="1668065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4 – Won’t we lose the heart of a liberal arts education when we make students’ journeys more structured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Same </a:t>
            </a:r>
            <a:r>
              <a:rPr lang="en-US" sz="3200" dirty="0"/>
              <a:t>number of humanities (or any other area) under guided pathways vs. cafeteria </a:t>
            </a:r>
            <a:r>
              <a:rPr lang="en-US" sz="3200" dirty="0" smtClean="0"/>
              <a:t>model</a:t>
            </a:r>
            <a:endParaRPr lang="en-US" sz="32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29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7455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72717" y="2286000"/>
            <a:ext cx="6803136" cy="2241717"/>
          </a:xfrm>
        </p:spPr>
        <p:txBody>
          <a:bodyPr/>
          <a:lstStyle/>
          <a:p>
            <a:r>
              <a:rPr lang="en-US" sz="4400" dirty="0"/>
              <a:t>Building Urgency and </a:t>
            </a:r>
            <a:br>
              <a:rPr lang="en-US" sz="4400" dirty="0"/>
            </a:br>
            <a:r>
              <a:rPr lang="en-US" sz="4400" dirty="0"/>
              <a:t>the Case for Chan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195899"/>
      </p:ext>
    </p:extLst>
  </p:cSld>
  <p:clrMapOvr>
    <a:masterClrMapping/>
  </p:clrMapOvr>
  <p:transition>
    <p:dissolv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668065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5 – Won’t faculty lose control over what is taught in their discipline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Ownership </a:t>
            </a:r>
            <a:r>
              <a:rPr lang="en-US" sz="3200" dirty="0"/>
              <a:t>over what is taught in programs vs. individual </a:t>
            </a:r>
            <a:r>
              <a:rPr lang="en-US" sz="3200" dirty="0" smtClean="0"/>
              <a:t>courses</a:t>
            </a:r>
            <a:endParaRPr lang="en-US" sz="32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081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668065"/>
            <a:ext cx="8385858" cy="478231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6 – Won’t we lose enrollment at our college if we decrease swirl with increased structure or by making things mandatory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Potential </a:t>
            </a:r>
            <a:r>
              <a:rPr lang="en-US" sz="3200" dirty="0"/>
              <a:t>to increase units </a:t>
            </a:r>
            <a:r>
              <a:rPr lang="en-US" sz="3200" dirty="0" smtClean="0"/>
              <a:t>per </a:t>
            </a:r>
            <a:r>
              <a:rPr lang="en-US" sz="3200" dirty="0"/>
              <a:t>student significantly 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1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862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668065"/>
            <a:ext cx="8385858" cy="3611858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7 – Isn’t all of this “hand-holding” going to create graduates that can’t navigate the workplace / real world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/>
              <a:t>Value of systems that those who work in higher education have trouble navigating</a:t>
            </a:r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endParaRPr lang="en-US" sz="32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2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084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64771" y="1668065"/>
            <a:ext cx="8385858" cy="3936322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8 – Don’t students benefit when they “find themselves” by what looks like wandering to an observer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32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Works </a:t>
            </a:r>
            <a:r>
              <a:rPr lang="en-US" sz="3200" dirty="0"/>
              <a:t>for some who can afford to – not as often for low-income students and </a:t>
            </a:r>
            <a:r>
              <a:rPr lang="en-US" sz="3200" dirty="0" smtClean="0"/>
              <a:t>FTIC</a:t>
            </a:r>
            <a:endParaRPr lang="en-US" sz="3200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3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664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0943" y="93253"/>
            <a:ext cx="8494714" cy="1030929"/>
          </a:xfrm>
        </p:spPr>
        <p:txBody>
          <a:bodyPr>
            <a:noAutofit/>
          </a:bodyPr>
          <a:lstStyle/>
          <a:p>
            <a:r>
              <a:rPr lang="en-US" dirty="0"/>
              <a:t>Top 10 FAQs </a:t>
            </a:r>
            <a:r>
              <a:rPr lang="en-US" dirty="0" smtClean="0"/>
              <a:t>– </a:t>
            </a:r>
            <a:br>
              <a:rPr lang="en-US" dirty="0" smtClean="0"/>
            </a:br>
            <a:r>
              <a:rPr lang="en-US" dirty="0" smtClean="0"/>
              <a:t>Redesigning </a:t>
            </a:r>
            <a:r>
              <a:rPr lang="en-US" dirty="0"/>
              <a:t>for Comple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00943" y="1603095"/>
            <a:ext cx="8385858" cy="4399499"/>
          </a:xfrm>
        </p:spPr>
        <p:txBody>
          <a:bodyPr>
            <a:normAutofit/>
          </a:bodyPr>
          <a:lstStyle/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/>
              <a:t>Q9 – How can students be expected to make career decisions at age 18? </a:t>
            </a:r>
            <a:endParaRPr lang="en-US" sz="3200" dirty="0" smtClean="0"/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r>
              <a:rPr lang="en-US" sz="3200" dirty="0" smtClean="0"/>
              <a:t>Q10 </a:t>
            </a:r>
            <a:r>
              <a:rPr lang="en-US" sz="3200" dirty="0"/>
              <a:t>– Don’t students change careers 4 to 7 times – why then guided pathways</a:t>
            </a:r>
            <a:r>
              <a:rPr lang="en-US" sz="3200" dirty="0" smtClean="0"/>
              <a:t>?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Clr>
                <a:srgbClr val="2C7D88"/>
              </a:buClr>
              <a:buNone/>
            </a:pPr>
            <a:endParaRPr lang="en-US" sz="2000" dirty="0"/>
          </a:p>
          <a:p>
            <a:pPr marL="457200">
              <a:spcAft>
                <a:spcPts val="1200"/>
              </a:spcAft>
              <a:buClr>
                <a:srgbClr val="2C7D88"/>
              </a:buClr>
            </a:pPr>
            <a:r>
              <a:rPr lang="en-US" sz="3200" dirty="0" smtClean="0"/>
              <a:t>Guided pathways </a:t>
            </a:r>
            <a:r>
              <a:rPr lang="en-US" sz="3200" dirty="0"/>
              <a:t>can focus attention on GE skills that will help students navigate careers and career </a:t>
            </a:r>
            <a:r>
              <a:rPr lang="en-US" sz="3200" dirty="0" smtClean="0"/>
              <a:t>changes</a:t>
            </a:r>
            <a:endParaRPr lang="en-US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4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148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37993" y="2013286"/>
            <a:ext cx="6803136" cy="1898957"/>
          </a:xfrm>
        </p:spPr>
        <p:txBody>
          <a:bodyPr/>
          <a:lstStyle/>
          <a:p>
            <a:r>
              <a:rPr lang="en-US" sz="4400" dirty="0" smtClean="0"/>
              <a:t>Example </a:t>
            </a:r>
            <a:r>
              <a:rPr lang="en-US" sz="4400" dirty="0"/>
              <a:t>of </a:t>
            </a:r>
            <a:r>
              <a:rPr lang="en-US" sz="4400" dirty="0" smtClean="0"/>
              <a:t>College </a:t>
            </a:r>
            <a:r>
              <a:rPr lang="en-US" sz="4400" dirty="0"/>
              <a:t>Redesigning for </a:t>
            </a:r>
            <a:r>
              <a:rPr lang="en-US" sz="4400" dirty="0" smtClean="0"/>
              <a:t>Completion</a:t>
            </a:r>
            <a:endParaRPr lang="en-US" sz="4400" dirty="0"/>
          </a:p>
        </p:txBody>
      </p:sp>
      <p:sp>
        <p:nvSpPr>
          <p:cNvPr id="4" name="Subtitle 1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/>
          <a:p>
            <a:r>
              <a:rPr lang="en-US" sz="2800" dirty="0" smtClean="0"/>
              <a:t>Broward College</a:t>
            </a:r>
            <a:endParaRPr lang="en-US" sz="280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5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020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248" y="0"/>
            <a:ext cx="7534656" cy="6858000"/>
          </a:xfrm>
        </p:spPr>
      </p:pic>
      <p:sp>
        <p:nvSpPr>
          <p:cNvPr id="3" name="Slide Number Placeholder 3"/>
          <p:cNvSpPr txBox="1">
            <a:spLocks/>
          </p:cNvSpPr>
          <p:nvPr/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rgbClr val="898989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36</a:t>
            </a:fld>
            <a:endParaRPr lang="en-US" sz="1200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6399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72717" y="2286000"/>
            <a:ext cx="6803136" cy="2241717"/>
          </a:xfrm>
        </p:spPr>
        <p:txBody>
          <a:bodyPr/>
          <a:lstStyle/>
          <a:p>
            <a:r>
              <a:rPr lang="en-US" sz="4400" dirty="0"/>
              <a:t>The AACC </a:t>
            </a:r>
            <a:r>
              <a:rPr lang="en-US" sz="4400" dirty="0" smtClean="0"/>
              <a:t>and CA Pathways Initiatives</a:t>
            </a:r>
            <a:endParaRPr lang="en-US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7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496258"/>
      </p:ext>
    </p:extLst>
  </p:cSld>
  <p:clrMapOvr>
    <a:masterClrMapping/>
  </p:clrMapOvr>
  <p:transition>
    <p:dissolv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ACC Pathways Projec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731520" y="1469985"/>
            <a:ext cx="7680960" cy="4407247"/>
          </a:xfrm>
        </p:spPr>
        <p:txBody>
          <a:bodyPr>
            <a:normAutofit/>
          </a:bodyPr>
          <a:lstStyle/>
          <a:p>
            <a:r>
              <a:rPr lang="en-US" b="0" dirty="0" smtClean="0"/>
              <a:t>National </a:t>
            </a:r>
            <a:r>
              <a:rPr lang="en-US" b="0" dirty="0"/>
              <a:t>project focused on building capacity for community colleges to design and implement structured academic and career pathways for all of their </a:t>
            </a:r>
            <a:r>
              <a:rPr lang="en-US" b="0" dirty="0" smtClean="0"/>
              <a:t>students</a:t>
            </a:r>
          </a:p>
          <a:p>
            <a:r>
              <a:rPr lang="en-US" b="0" dirty="0" smtClean="0"/>
              <a:t>30 community colleges from across the country will send teams to attend </a:t>
            </a:r>
            <a:r>
              <a:rPr lang="en-US" b="0" dirty="0"/>
              <a:t>the six institutes in 2016-2018, </a:t>
            </a:r>
            <a:r>
              <a:rPr lang="en-US" b="0" dirty="0" smtClean="0"/>
              <a:t>where each institute focuses </a:t>
            </a:r>
            <a:r>
              <a:rPr lang="en-US" b="0" dirty="0"/>
              <a:t>on a critical aspect of institutional change and pathway </a:t>
            </a:r>
            <a:r>
              <a:rPr lang="en-US" b="0" dirty="0" smtClean="0"/>
              <a:t>design/implementation</a:t>
            </a:r>
            <a:endParaRPr lang="en-US" b="0" dirty="0"/>
          </a:p>
          <a:p>
            <a:endParaRPr lang="en-US" b="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8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7649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5765" y="303115"/>
            <a:ext cx="7680960" cy="1152122"/>
          </a:xfrm>
        </p:spPr>
        <p:txBody>
          <a:bodyPr/>
          <a:lstStyle/>
          <a:p>
            <a:r>
              <a:rPr lang="en-US" dirty="0" smtClean="0"/>
              <a:t>CA Guided Pathways Projec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775764" y="1366746"/>
            <a:ext cx="7914769" cy="4407247"/>
          </a:xfrm>
        </p:spPr>
        <p:txBody>
          <a:bodyPr>
            <a:normAutofit lnSpcReduction="10000"/>
          </a:bodyPr>
          <a:lstStyle/>
          <a:p>
            <a:r>
              <a:rPr lang="en-US" b="0" dirty="0" smtClean="0"/>
              <a:t>Will </a:t>
            </a:r>
            <a:r>
              <a:rPr lang="en-US" b="0" dirty="0"/>
              <a:t>help 15-20 California community colleges implement an integrated, institution-wide approach to student success by creating structured educational experiences that support each student from point of entry to attainment of high-quality postsecondary credentials and </a:t>
            </a:r>
            <a:r>
              <a:rPr lang="en-US" b="0" dirty="0" smtClean="0"/>
              <a:t>careers</a:t>
            </a:r>
          </a:p>
          <a:p>
            <a:r>
              <a:rPr lang="en-US" b="0" dirty="0" smtClean="0"/>
              <a:t>Following institute model of AACC Pathways Project</a:t>
            </a:r>
          </a:p>
          <a:p>
            <a:r>
              <a:rPr lang="en-US" b="0" dirty="0" smtClean="0"/>
              <a:t>Applications were due February 28</a:t>
            </a:r>
            <a:endParaRPr lang="en-US" b="0" dirty="0"/>
          </a:p>
          <a:p>
            <a:r>
              <a:rPr lang="en-US" u="sng" dirty="0" smtClean="0"/>
              <a:t>NOT</a:t>
            </a:r>
            <a:r>
              <a:rPr lang="en-US" dirty="0" smtClean="0"/>
              <a:t> the same as the Pathways line item in Governor’s January budget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3181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256583" y="2234244"/>
            <a:ext cx="6769330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ckwell"/>
                <a:cs typeface="Rockwell"/>
              </a:rPr>
              <a:t>Lost in a Maze</a:t>
            </a: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chemeClr val="bg1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2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17104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72717" y="2441781"/>
            <a:ext cx="6803136" cy="2241717"/>
          </a:xfrm>
        </p:spPr>
        <p:txBody>
          <a:bodyPr/>
          <a:lstStyle/>
          <a:p>
            <a:r>
              <a:rPr lang="en-US" sz="4400" dirty="0"/>
              <a:t>Final Thoughts</a:t>
            </a:r>
            <a:endParaRPr lang="en-US" sz="440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2135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3231" y="122820"/>
            <a:ext cx="6858000" cy="1140643"/>
          </a:xfrm>
        </p:spPr>
        <p:txBody>
          <a:bodyPr>
            <a:normAutofit/>
          </a:bodyPr>
          <a:lstStyle/>
          <a:p>
            <a:r>
              <a:rPr lang="en-US" dirty="0"/>
              <a:t>So What Does All This Mean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557981" y="1310148"/>
            <a:ext cx="8291051" cy="4648199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spcAft>
                <a:spcPts val="1800"/>
              </a:spcAft>
            </a:pPr>
            <a:r>
              <a:rPr lang="en-US" sz="2800" dirty="0" smtClean="0"/>
              <a:t>You’re already doing a lot of work in the four essential pathways pillars and six success factors!</a:t>
            </a:r>
          </a:p>
          <a:p>
            <a:pPr>
              <a:spcAft>
                <a:spcPts val="1800"/>
              </a:spcAft>
            </a:pPr>
            <a:r>
              <a:rPr lang="en-US" sz="2800" dirty="0" smtClean="0"/>
              <a:t>Pathways is not another initiative or project, it’s a comprehensive approach or framework that can bring disparate, disconnected efforts together into a coherence and cohesiveness</a:t>
            </a:r>
          </a:p>
          <a:p>
            <a:pPr>
              <a:spcAft>
                <a:spcPts val="1800"/>
              </a:spcAft>
            </a:pPr>
            <a:r>
              <a:rPr lang="en-US" sz="2800" dirty="0" smtClean="0"/>
              <a:t>Need to explore how to build curricular and extracurricular pathways through the institution with students’ end goal in mind</a:t>
            </a:r>
          </a:p>
          <a:p>
            <a:endParaRPr lang="en-US" sz="2800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1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109184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226" y="398207"/>
            <a:ext cx="6858000" cy="834272"/>
          </a:xfrm>
        </p:spPr>
        <p:txBody>
          <a:bodyPr>
            <a:normAutofit/>
          </a:bodyPr>
          <a:lstStyle/>
          <a:p>
            <a:r>
              <a:rPr lang="en-US" dirty="0"/>
              <a:t>Questions to Think Abou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572729" y="1357029"/>
            <a:ext cx="7467600" cy="4785674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dirty="0"/>
              <a:t>Are students able to make informed decisions about what to study and how that </a:t>
            </a:r>
            <a:r>
              <a:rPr lang="en-US" dirty="0" smtClean="0"/>
              <a:t>decision links </a:t>
            </a:r>
            <a:r>
              <a:rPr lang="en-US" dirty="0"/>
              <a:t>to their future goals?</a:t>
            </a:r>
          </a:p>
          <a:p>
            <a:pPr>
              <a:spcAft>
                <a:spcPts val="1800"/>
              </a:spcAft>
            </a:pPr>
            <a:r>
              <a:rPr lang="en-US" dirty="0"/>
              <a:t>Are we adequately preparing students to be successful </a:t>
            </a:r>
            <a:r>
              <a:rPr lang="en-US" dirty="0" smtClean="0"/>
              <a:t>after </a:t>
            </a:r>
            <a:r>
              <a:rPr lang="en-US" dirty="0"/>
              <a:t>they leave us?</a:t>
            </a:r>
          </a:p>
          <a:p>
            <a:pPr>
              <a:spcAft>
                <a:spcPts val="1800"/>
              </a:spcAft>
            </a:pPr>
            <a:r>
              <a:rPr lang="en-US" dirty="0"/>
              <a:t>What pathways essential practices or six success factors may be missing from or could be strengthened </a:t>
            </a:r>
            <a:r>
              <a:rPr lang="en-US" dirty="0" smtClean="0"/>
              <a:t>at your college?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2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54601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669" y="240737"/>
            <a:ext cx="7792767" cy="1030929"/>
          </a:xfrm>
        </p:spPr>
        <p:txBody>
          <a:bodyPr>
            <a:normAutofit/>
          </a:bodyPr>
          <a:lstStyle/>
          <a:p>
            <a:r>
              <a:rPr lang="en-US" dirty="0"/>
              <a:t>Co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722670" y="1224117"/>
            <a:ext cx="7728156" cy="4782312"/>
          </a:xfrm>
        </p:spPr>
        <p:txBody>
          <a:bodyPr>
            <a:normAutofit/>
          </a:bodyPr>
          <a:lstStyle/>
          <a:p>
            <a:pPr>
              <a:spcAft>
                <a:spcPts val="1800"/>
              </a:spcAft>
            </a:pPr>
            <a:r>
              <a:rPr lang="en-US" dirty="0"/>
              <a:t>Guided pathways can be a strong lever for helping more students complete college and enter the workforce to achieve family security, personal growth, and professional advancement.</a:t>
            </a:r>
          </a:p>
          <a:p>
            <a:pPr>
              <a:spcAft>
                <a:spcPts val="1800"/>
              </a:spcAft>
            </a:pPr>
            <a:r>
              <a:rPr lang="en-US" dirty="0"/>
              <a:t>Excitement about the next five years</a:t>
            </a:r>
          </a:p>
          <a:p>
            <a:pPr>
              <a:spcAft>
                <a:spcPts val="1800"/>
              </a:spcAft>
            </a:pPr>
            <a:r>
              <a:rPr lang="en-US" dirty="0"/>
              <a:t>Can envision a future where this movement transforms our system of higher education nationally and in California improving millions of l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3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083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941" y="324465"/>
            <a:ext cx="6858000" cy="834272"/>
          </a:xfrm>
        </p:spPr>
        <p:txBody>
          <a:bodyPr>
            <a:normAutofit/>
          </a:bodyPr>
          <a:lstStyle/>
          <a:p>
            <a:r>
              <a:rPr lang="en-US" dirty="0"/>
              <a:t>Referenc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1295400" y="1291472"/>
            <a:ext cx="7651830" cy="4785674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1800"/>
              </a:spcAft>
            </a:pPr>
            <a:r>
              <a:rPr lang="en-US" dirty="0"/>
              <a:t>Guided Pathways </a:t>
            </a:r>
            <a:r>
              <a:rPr lang="en-US" dirty="0" smtClean="0"/>
              <a:t>Demystified</a:t>
            </a:r>
          </a:p>
          <a:p>
            <a:pPr lvl="1">
              <a:spcAft>
                <a:spcPts val="1800"/>
              </a:spcAft>
            </a:pPr>
            <a:r>
              <a:rPr lang="en-US" dirty="0" smtClean="0">
                <a:hlinkClick r:id="rId3"/>
              </a:rPr>
              <a:t>http</a:t>
            </a:r>
            <a:r>
              <a:rPr lang="en-US" dirty="0">
                <a:hlinkClick r:id="rId3"/>
              </a:rPr>
              <a:t>://</a:t>
            </a:r>
            <a:r>
              <a:rPr lang="en-US" dirty="0" smtClean="0">
                <a:hlinkClick r:id="rId3"/>
              </a:rPr>
              <a:t>www.inquiry2improvement.com/publications-resources</a:t>
            </a:r>
            <a:r>
              <a:rPr lang="en-US" dirty="0" smtClean="0"/>
              <a:t>    </a:t>
            </a:r>
            <a:endParaRPr lang="en-US" dirty="0"/>
          </a:p>
          <a:p>
            <a:pPr>
              <a:spcAft>
                <a:spcPts val="1800"/>
              </a:spcAft>
            </a:pPr>
            <a:r>
              <a:rPr lang="en-US" sz="2800" dirty="0" smtClean="0">
                <a:solidFill>
                  <a:srgbClr val="2C7D88"/>
                </a:solidFill>
              </a:rPr>
              <a:t>AACC </a:t>
            </a:r>
            <a:r>
              <a:rPr lang="en-US" sz="2800" dirty="0">
                <a:solidFill>
                  <a:srgbClr val="2C7D88"/>
                </a:solidFill>
              </a:rPr>
              <a:t>Pathways Project</a:t>
            </a:r>
          </a:p>
          <a:p>
            <a:pPr lvl="1">
              <a:spcAft>
                <a:spcPts val="1800"/>
              </a:spcAft>
            </a:pPr>
            <a:r>
              <a:rPr lang="en-US" dirty="0">
                <a:hlinkClick r:id="rId4"/>
              </a:rPr>
              <a:t>http://</a:t>
            </a:r>
            <a:r>
              <a:rPr lang="en-US" dirty="0" smtClean="0">
                <a:hlinkClick r:id="rId4"/>
              </a:rPr>
              <a:t>www.aacc.nche.edu/Resources/aaccprograms/pathways/Pages/default.aspx</a:t>
            </a:r>
            <a:endParaRPr lang="en-US" dirty="0" smtClean="0"/>
          </a:p>
          <a:p>
            <a:pPr>
              <a:spcAft>
                <a:spcPts val="1800"/>
              </a:spcAft>
            </a:pPr>
            <a:r>
              <a:rPr lang="en-US" dirty="0" smtClean="0"/>
              <a:t>CA Guided Pathways Project</a:t>
            </a:r>
          </a:p>
          <a:p>
            <a:pPr lvl="1">
              <a:spcAft>
                <a:spcPts val="1800"/>
              </a:spcAft>
            </a:pPr>
            <a:r>
              <a:rPr lang="en-US" dirty="0">
                <a:hlinkClick r:id="rId5"/>
              </a:rPr>
              <a:t>https://www.caguidedpathways.org</a:t>
            </a:r>
            <a:r>
              <a:rPr lang="en-US" dirty="0" smtClean="0">
                <a:hlinkClick r:id="rId5"/>
              </a:rPr>
              <a:t>/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4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629243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dirty="0"/>
              <a:t>Q &amp; A</a:t>
            </a: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5</a:t>
            </a:fld>
            <a:endParaRPr lang="en-US" dirty="0" smtClean="0">
              <a:solidFill>
                <a:srgbClr val="898989"/>
              </a:solidFill>
            </a:endParaRPr>
          </a:p>
        </p:txBody>
      </p:sp>
      <p:pic>
        <p:nvPicPr>
          <p:cNvPr id="24581" name="Picture 2" descr="C:\Users\rdp\AppData\Local\Microsoft\Windows\Temporary Internet Files\Content.IE5\CLKX080K\MP900315598[1].jpg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219200" y="1768475"/>
            <a:ext cx="6813550" cy="4327525"/>
          </a:xfrm>
          <a:noFill/>
        </p:spPr>
      </p:pic>
    </p:spTree>
    <p:extLst>
      <p:ext uri="{BB962C8B-B14F-4D97-AF65-F5344CB8AC3E}">
        <p14:creationId xmlns:p14="http://schemas.microsoft.com/office/powerpoint/2010/main" val="3877436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8000" dirty="0" smtClean="0"/>
              <a:t>Thank You!</a:t>
            </a:r>
            <a:endParaRPr lang="en-US" sz="8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4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10461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Title 2"/>
          <p:cNvSpPr>
            <a:spLocks noGrp="1"/>
          </p:cNvSpPr>
          <p:nvPr>
            <p:ph type="title"/>
          </p:nvPr>
        </p:nvSpPr>
        <p:spPr>
          <a:xfrm>
            <a:off x="657225" y="224118"/>
            <a:ext cx="7919010" cy="942695"/>
          </a:xfrm>
          <a:solidFill>
            <a:srgbClr val="FFFF00"/>
          </a:solidFill>
          <a:ln w="38100" cmpd="sng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3200" dirty="0">
                <a:latin typeface="Arial" charset="0"/>
                <a:cs typeface="Tahoma" charset="0"/>
              </a:rPr>
              <a:t>GENERAL EDUCATION REQUIREMENTS</a:t>
            </a:r>
            <a:br>
              <a:rPr lang="en-US" sz="3200" dirty="0">
                <a:latin typeface="Arial" charset="0"/>
                <a:cs typeface="Tahoma" charset="0"/>
              </a:rPr>
            </a:br>
            <a:r>
              <a:rPr lang="en-US" sz="2200" dirty="0">
                <a:latin typeface="Arial" charset="0"/>
                <a:cs typeface="Tahoma" charset="0"/>
              </a:rPr>
              <a:t>(Select 12 courses from this list of more than 300)</a:t>
            </a:r>
          </a:p>
        </p:txBody>
      </p:sp>
      <p:pic>
        <p:nvPicPr>
          <p:cNvPr id="68610" name="Picture 3" descr="Screen Shot 2013-03-26 at 6.19.33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25" y="1217613"/>
            <a:ext cx="8029575" cy="550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7409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1057" y="847108"/>
            <a:ext cx="8852944" cy="1581458"/>
          </a:xfrm>
        </p:spPr>
        <p:txBody>
          <a:bodyPr/>
          <a:lstStyle/>
          <a:p>
            <a:pPr marL="165100" indent="-165100"/>
            <a:r>
              <a:rPr lang="en-US" sz="4200" dirty="0">
                <a:solidFill>
                  <a:schemeClr val="tx1"/>
                </a:solidFill>
              </a:rPr>
              <a:t> </a:t>
            </a:r>
            <a:r>
              <a:rPr lang="en-US" sz="4400" dirty="0">
                <a:solidFill>
                  <a:schemeClr val="tx1"/>
                </a:solidFill>
              </a:rPr>
              <a:t>New Students </a:t>
            </a:r>
            <a:r>
              <a:rPr lang="en-US" sz="4400" dirty="0">
                <a:solidFill>
                  <a:srgbClr val="0070C0"/>
                </a:solidFill>
              </a:rPr>
              <a:t>Want to Know</a:t>
            </a:r>
            <a:endParaRPr lang="en-US" sz="4400" b="1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2331" y="1855356"/>
            <a:ext cx="9127397" cy="3941019"/>
          </a:xfrm>
        </p:spPr>
        <p:txBody>
          <a:bodyPr>
            <a:noAutofit/>
          </a:bodyPr>
          <a:lstStyle/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000" dirty="0">
                <a:solidFill>
                  <a:schemeClr val="tx1"/>
                </a:solidFill>
                <a:sym typeface="Wingdings" pitchFamily="2" charset="2"/>
              </a:rPr>
              <a:t>What are my career options?</a:t>
            </a:r>
          </a:p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000" dirty="0">
                <a:solidFill>
                  <a:schemeClr val="tx1"/>
                </a:solidFill>
              </a:rPr>
              <a:t>What are the education paths to those careers?</a:t>
            </a:r>
          </a:p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000" dirty="0">
                <a:solidFill>
                  <a:schemeClr val="tx1"/>
                </a:solidFill>
              </a:rPr>
              <a:t>What will I need to take?</a:t>
            </a:r>
          </a:p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000" dirty="0">
                <a:solidFill>
                  <a:schemeClr val="tx1"/>
                </a:solidFill>
              </a:rPr>
              <a:t>How long will it take and how much will it cost?</a:t>
            </a:r>
          </a:p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000" dirty="0">
                <a:solidFill>
                  <a:schemeClr val="tx1"/>
                </a:solidFill>
              </a:rPr>
              <a:t>How much financial aid can I get?</a:t>
            </a:r>
          </a:p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000" dirty="0">
                <a:solidFill>
                  <a:schemeClr val="tx1"/>
                </a:solidFill>
              </a:rPr>
              <a:t>Will my credits transfer?</a:t>
            </a:r>
          </a:p>
          <a:p>
            <a:pPr marL="344488" indent="-34448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rgbClr val="898989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US" sz="1200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681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91056" y="809322"/>
            <a:ext cx="8852944" cy="1581458"/>
          </a:xfrm>
        </p:spPr>
        <p:txBody>
          <a:bodyPr/>
          <a:lstStyle/>
          <a:p>
            <a:pPr marL="165100" indent="-165100"/>
            <a:r>
              <a:rPr lang="en-US" sz="4200" dirty="0">
                <a:solidFill>
                  <a:schemeClr val="tx1"/>
                </a:solidFill>
              </a:rPr>
              <a:t> </a:t>
            </a:r>
            <a:r>
              <a:rPr lang="en-US" sz="4400" dirty="0">
                <a:solidFill>
                  <a:schemeClr val="tx1"/>
                </a:solidFill>
              </a:rPr>
              <a:t>Returning Students </a:t>
            </a:r>
            <a:r>
              <a:rPr lang="en-US" sz="4400" dirty="0">
                <a:solidFill>
                  <a:srgbClr val="0070C0"/>
                </a:solidFill>
              </a:rPr>
              <a:t>Ask</a:t>
            </a:r>
            <a:endParaRPr lang="en-US" sz="4400" b="1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7125" y="1755757"/>
            <a:ext cx="9127397" cy="3941019"/>
          </a:xfrm>
        </p:spPr>
        <p:txBody>
          <a:bodyPr>
            <a:noAutofit/>
          </a:bodyPr>
          <a:lstStyle/>
          <a:p>
            <a:pPr marL="574675" indent="-338138">
              <a:spcBef>
                <a:spcPts val="0"/>
              </a:spcBef>
              <a:spcAft>
                <a:spcPts val="18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tx1"/>
                </a:solidFill>
                <a:sym typeface="Wingdings" pitchFamily="2" charset="2"/>
              </a:rPr>
              <a:t>How far along am I toward completing my program?  </a:t>
            </a:r>
            <a:r>
              <a:rPr lang="en-US" sz="3200" dirty="0">
                <a:solidFill>
                  <a:schemeClr val="tx1"/>
                </a:solidFill>
              </a:rPr>
              <a:t>How much more will I have to pay?</a:t>
            </a:r>
          </a:p>
          <a:p>
            <a:pPr marL="574675" indent="-338138">
              <a:spcBef>
                <a:spcPts val="0"/>
              </a:spcBef>
              <a:spcAft>
                <a:spcPts val="18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tx1"/>
                </a:solidFill>
              </a:rPr>
              <a:t>What will I need to take next term and what will my scheduled be?</a:t>
            </a:r>
          </a:p>
          <a:p>
            <a:pPr marL="574675" indent="-338138">
              <a:spcBef>
                <a:spcPts val="0"/>
              </a:spcBef>
              <a:spcAft>
                <a:spcPts val="18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tx1"/>
                </a:solidFill>
              </a:rPr>
              <a:t>What if I want to change programs?</a:t>
            </a:r>
          </a:p>
          <a:p>
            <a:pPr marL="574675" indent="-338138">
              <a:spcBef>
                <a:spcPts val="0"/>
              </a:spcBef>
              <a:spcAft>
                <a:spcPts val="18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tx1"/>
                </a:solidFill>
              </a:rPr>
              <a:t>Will my </a:t>
            </a:r>
            <a:r>
              <a:rPr lang="en-US" sz="3200">
                <a:solidFill>
                  <a:schemeClr val="tx1"/>
                </a:solidFill>
              </a:rPr>
              <a:t>credits transfer?</a:t>
            </a:r>
            <a:endParaRPr lang="en-US" sz="3200" dirty="0">
              <a:solidFill>
                <a:schemeClr val="tx1"/>
              </a:solidFill>
            </a:endParaRPr>
          </a:p>
          <a:p>
            <a:pPr marL="574675" indent="-338138">
              <a:spcBef>
                <a:spcPts val="0"/>
              </a:spcBef>
              <a:spcAft>
                <a:spcPts val="18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3200" dirty="0">
                <a:solidFill>
                  <a:schemeClr val="tx1"/>
                </a:solidFill>
              </a:rPr>
              <a:t>How can I get work experience in my field of interest?</a:t>
            </a:r>
          </a:p>
          <a:p>
            <a:pPr marL="574675" indent="-33813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3000" dirty="0">
              <a:solidFill>
                <a:schemeClr val="tx1"/>
              </a:solidFill>
            </a:endParaRPr>
          </a:p>
          <a:p>
            <a:pPr marL="344488" indent="-344488">
              <a:spcBef>
                <a:spcPts val="0"/>
              </a:spcBef>
              <a:spcAft>
                <a:spcPts val="2400"/>
              </a:spcAft>
              <a:buClr>
                <a:schemeClr val="accent4"/>
              </a:buClr>
              <a:buFont typeface="Wingdings" panose="05000000000000000000" pitchFamily="2" charset="2"/>
              <a:buChar char="§"/>
            </a:pP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rgbClr val="898989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z="1200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57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1"/>
          <p:cNvSpPr>
            <a:spLocks noGrp="1"/>
          </p:cNvSpPr>
          <p:nvPr>
            <p:ph type="title" idx="4294967295"/>
          </p:nvPr>
        </p:nvSpPr>
        <p:spPr>
          <a:xfrm>
            <a:off x="504971" y="742429"/>
            <a:ext cx="8450263" cy="1581150"/>
          </a:xfrm>
        </p:spPr>
        <p:txBody>
          <a:bodyPr/>
          <a:lstStyle/>
          <a:p>
            <a:r>
              <a:rPr lang="en-US" sz="4400" dirty="0">
                <a:solidFill>
                  <a:schemeClr val="tx1"/>
                </a:solidFill>
              </a:rPr>
              <a:t>A National </a:t>
            </a:r>
            <a:r>
              <a:rPr lang="en-US" sz="4400" dirty="0">
                <a:solidFill>
                  <a:srgbClr val="0070C0"/>
                </a:solidFill>
              </a:rPr>
              <a:t>Movement</a:t>
            </a:r>
            <a:endParaRPr lang="en-US" sz="4400" dirty="0"/>
          </a:p>
        </p:txBody>
      </p:sp>
      <p:grpSp>
        <p:nvGrpSpPr>
          <p:cNvPr id="39" name="Group 38"/>
          <p:cNvGrpSpPr/>
          <p:nvPr/>
        </p:nvGrpSpPr>
        <p:grpSpPr>
          <a:xfrm>
            <a:off x="182880" y="1713808"/>
            <a:ext cx="8961120" cy="4952999"/>
            <a:chOff x="609600" y="1447800"/>
            <a:chExt cx="8001000" cy="4779964"/>
          </a:xfrm>
        </p:grpSpPr>
        <p:pic>
          <p:nvPicPr>
            <p:cNvPr id="40" name="Picture 39"/>
            <p:cNvPicPr/>
            <p:nvPr/>
          </p:nvPicPr>
          <p:blipFill rotWithShape="1">
            <a:blip r:embed="rId3"/>
            <a:srcRect l="24786" t="15062" r="1175" b="9037"/>
            <a:stretch/>
          </p:blipFill>
          <p:spPr bwMode="auto">
            <a:xfrm>
              <a:off x="632690" y="1447800"/>
              <a:ext cx="7977910" cy="4779964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5181600"/>
              <a:ext cx="926757" cy="762000"/>
            </a:xfrm>
            <a:prstGeom prst="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2" name="Picture 41"/>
            <p:cNvPicPr/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905" t="43614" r="78670" b="50313"/>
            <a:stretch/>
          </p:blipFill>
          <p:spPr bwMode="auto">
            <a:xfrm>
              <a:off x="7326745" y="5024437"/>
              <a:ext cx="979055" cy="385763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sp>
        <p:nvSpPr>
          <p:cNvPr id="7" name="Slide Number Placeholder 3"/>
          <p:cNvSpPr txBox="1">
            <a:spLocks/>
          </p:cNvSpPr>
          <p:nvPr/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742950" indent="-28575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11430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6002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2057400" indent="-228600" algn="l" defTabSz="9144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z="1200" smtClean="0">
                <a:solidFill>
                  <a:srgbClr val="898989"/>
                </a:solidFill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sz="1200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99894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72717" y="2286000"/>
            <a:ext cx="6803136" cy="2241717"/>
          </a:xfrm>
        </p:spPr>
        <p:txBody>
          <a:bodyPr/>
          <a:lstStyle/>
          <a:p>
            <a:r>
              <a:rPr lang="en-US" sz="4400" dirty="0" smtClean="0"/>
              <a:t>Defining the Pathways Model</a:t>
            </a:r>
            <a:endParaRPr lang="en-US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 bwMode="auto">
          <a:xfrm>
            <a:off x="8001000" y="6381750"/>
            <a:ext cx="6858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87860BE-7E27-4CB1-AE53-ED1CA5DD5D3B}" type="slidenum">
              <a:rPr lang="en-US" smtClean="0">
                <a:solidFill>
                  <a:srgbClr val="898989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dirty="0" smtClean="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046535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5.png"/></Relationships>
</file>

<file path=ppt/theme/_rels/theme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5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10.xml><?xml version="1.0" encoding="utf-8"?>
<a:theme xmlns:a="http://schemas.openxmlformats.org/drawingml/2006/main" name="21_AmericasCharities_PPT_TEMPLATE_160511">
  <a:themeElements>
    <a:clrScheme name="Custom 15">
      <a:dk1>
        <a:srgbClr val="000000"/>
      </a:dk1>
      <a:lt1>
        <a:srgbClr val="FFFFFF"/>
      </a:lt1>
      <a:dk2>
        <a:srgbClr val="872175"/>
      </a:dk2>
      <a:lt2>
        <a:srgbClr val="3B73B9"/>
      </a:lt2>
      <a:accent1>
        <a:srgbClr val="A3B222"/>
      </a:accent1>
      <a:accent2>
        <a:srgbClr val="008C99"/>
      </a:accent2>
      <a:accent3>
        <a:srgbClr val="42BECA"/>
      </a:accent3>
      <a:accent4>
        <a:srgbClr val="0065A4"/>
      </a:accent4>
      <a:accent5>
        <a:srgbClr val="DF8B07"/>
      </a:accent5>
      <a:accent6>
        <a:srgbClr val="C41230"/>
      </a:accent6>
      <a:hlink>
        <a:srgbClr val="872175"/>
      </a:hlink>
      <a:folHlink>
        <a:srgbClr val="3B73B9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Helvetica Neue Light"/>
        <a:ea typeface="Helvetica Neue Light"/>
        <a:cs typeface="Helvetica Neue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0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j-lt"/>
            <a:ea typeface="+mj-ea"/>
            <a:cs typeface="+mj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2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Gill Sans"/>
        <a:ea typeface="Gill Sans"/>
        <a:cs typeface="Gill Sans"/>
      </a:majorFont>
      <a:minorFont>
        <a:latin typeface="Helvetica Neue Light"/>
        <a:ea typeface="Helvetica Neue Light"/>
        <a:cs typeface="Helvetica Neue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40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38100" dist="12700" dir="5400000" rotWithShape="0">
                <a:srgbClr val="000000">
                  <a:alpha val="50000"/>
                </a:srgbClr>
              </a:outerShdw>
            </a:effectLst>
            <a:uFillTx/>
            <a:latin typeface="+mj-lt"/>
            <a:ea typeface="+mj-ea"/>
            <a:cs typeface="+mj-cs"/>
            <a:sym typeface="Gill Sans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l" defTabSz="4572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"/>
            <a:ea typeface="Helvetica"/>
            <a:cs typeface="Helvetica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3.xml><?xml version="1.0" encoding="utf-8"?>
<a:theme xmlns:a="http://schemas.openxmlformats.org/drawingml/2006/main" name="1_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REI_PP_Template_2012-09-17">
  <a:themeElements>
    <a:clrScheme name="Reinvention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ew MC Cluster Education_CF_ON0132 1">
        <a:dk1>
          <a:srgbClr val="000000"/>
        </a:dk1>
        <a:lt1>
          <a:srgbClr val="FFFFFF"/>
        </a:lt1>
        <a:dk2>
          <a:srgbClr val="000069"/>
        </a:dk2>
        <a:lt2>
          <a:srgbClr val="7C7C7C"/>
        </a:lt2>
        <a:accent1>
          <a:srgbClr val="DEDEDE"/>
        </a:accent1>
        <a:accent2>
          <a:srgbClr val="7CA1CE"/>
        </a:accent2>
        <a:accent3>
          <a:srgbClr val="FFFFFF"/>
        </a:accent3>
        <a:accent4>
          <a:srgbClr val="000000"/>
        </a:accent4>
        <a:accent5>
          <a:srgbClr val="ECECEC"/>
        </a:accent5>
        <a:accent6>
          <a:srgbClr val="7091BA"/>
        </a:accent6>
        <a:hlink>
          <a:srgbClr val="3F6EA7"/>
        </a:hlink>
        <a:folHlink>
          <a:srgbClr val="00006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9_AmericasCharities_PPT_TEMPLATE_160511">
  <a:themeElements>
    <a:clrScheme name="Custom 15">
      <a:dk1>
        <a:srgbClr val="000000"/>
      </a:dk1>
      <a:lt1>
        <a:srgbClr val="FFFFFF"/>
      </a:lt1>
      <a:dk2>
        <a:srgbClr val="872175"/>
      </a:dk2>
      <a:lt2>
        <a:srgbClr val="3B73B9"/>
      </a:lt2>
      <a:accent1>
        <a:srgbClr val="A3B222"/>
      </a:accent1>
      <a:accent2>
        <a:srgbClr val="008C99"/>
      </a:accent2>
      <a:accent3>
        <a:srgbClr val="42BECA"/>
      </a:accent3>
      <a:accent4>
        <a:srgbClr val="0065A4"/>
      </a:accent4>
      <a:accent5>
        <a:srgbClr val="DF8B07"/>
      </a:accent5>
      <a:accent6>
        <a:srgbClr val="C41230"/>
      </a:accent6>
      <a:hlink>
        <a:srgbClr val="872175"/>
      </a:hlink>
      <a:folHlink>
        <a:srgbClr val="3B73B9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4_AmericasCharities_PPT_TEMPLATE_160511">
  <a:themeElements>
    <a:clrScheme name="Custom 15">
      <a:dk1>
        <a:srgbClr val="000000"/>
      </a:dk1>
      <a:lt1>
        <a:srgbClr val="FFFFFF"/>
      </a:lt1>
      <a:dk2>
        <a:srgbClr val="872175"/>
      </a:dk2>
      <a:lt2>
        <a:srgbClr val="3B73B9"/>
      </a:lt2>
      <a:accent1>
        <a:srgbClr val="A3B222"/>
      </a:accent1>
      <a:accent2>
        <a:srgbClr val="008C99"/>
      </a:accent2>
      <a:accent3>
        <a:srgbClr val="42BECA"/>
      </a:accent3>
      <a:accent4>
        <a:srgbClr val="0065A4"/>
      </a:accent4>
      <a:accent5>
        <a:srgbClr val="DF8B07"/>
      </a:accent5>
      <a:accent6>
        <a:srgbClr val="C41230"/>
      </a:accent6>
      <a:hlink>
        <a:srgbClr val="872175"/>
      </a:hlink>
      <a:folHlink>
        <a:srgbClr val="3B73B9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_Default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0_AmericasCharities_PPT_TEMPLATE_160511">
  <a:themeElements>
    <a:clrScheme name="Custom 15">
      <a:dk1>
        <a:srgbClr val="000000"/>
      </a:dk1>
      <a:lt1>
        <a:srgbClr val="FFFFFF"/>
      </a:lt1>
      <a:dk2>
        <a:srgbClr val="872175"/>
      </a:dk2>
      <a:lt2>
        <a:srgbClr val="3B73B9"/>
      </a:lt2>
      <a:accent1>
        <a:srgbClr val="A3B222"/>
      </a:accent1>
      <a:accent2>
        <a:srgbClr val="008C99"/>
      </a:accent2>
      <a:accent3>
        <a:srgbClr val="42BECA"/>
      </a:accent3>
      <a:accent4>
        <a:srgbClr val="0065A4"/>
      </a:accent4>
      <a:accent5>
        <a:srgbClr val="DF8B07"/>
      </a:accent5>
      <a:accent6>
        <a:srgbClr val="C41230"/>
      </a:accent6>
      <a:hlink>
        <a:srgbClr val="872175"/>
      </a:hlink>
      <a:folHlink>
        <a:srgbClr val="3B73B9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848</TotalTime>
  <Words>1750</Words>
  <Application>Microsoft Office PowerPoint</Application>
  <PresentationFormat>On-screen Show (4:3)</PresentationFormat>
  <Paragraphs>287</Paragraphs>
  <Slides>46</Slides>
  <Notes>46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6</vt:i4>
      </vt:variant>
    </vt:vector>
  </HeadingPairs>
  <TitlesOfParts>
    <vt:vector size="76" baseType="lpstr">
      <vt:lpstr>ＭＳ Ｐゴシック</vt:lpstr>
      <vt:lpstr>SimSun</vt:lpstr>
      <vt:lpstr>Arial</vt:lpstr>
      <vt:lpstr>Calibri</vt:lpstr>
      <vt:lpstr>Calibri Light</vt:lpstr>
      <vt:lpstr>Century Gothic</vt:lpstr>
      <vt:lpstr>Gill Sans</vt:lpstr>
      <vt:lpstr>Helvetica</vt:lpstr>
      <vt:lpstr>Helvetica Light</vt:lpstr>
      <vt:lpstr>Helvetica Neue</vt:lpstr>
      <vt:lpstr>Helvetica Neue Light</vt:lpstr>
      <vt:lpstr>Rockwell</vt:lpstr>
      <vt:lpstr>Tahoma</vt:lpstr>
      <vt:lpstr>Verdana</vt:lpstr>
      <vt:lpstr>Wingdings</vt:lpstr>
      <vt:lpstr>ヒラギノ角ゴ Pro W3</vt:lpstr>
      <vt:lpstr>Savon</vt:lpstr>
      <vt:lpstr>1_Savon</vt:lpstr>
      <vt:lpstr>1_REI_PP_Template_2012-09-17</vt:lpstr>
      <vt:lpstr>REI_PP_Template_2012-09-17</vt:lpstr>
      <vt:lpstr>9_AmericasCharities_PPT_TEMPLATE_160511</vt:lpstr>
      <vt:lpstr>14_AmericasCharities_PPT_TEMPLATE_160511</vt:lpstr>
      <vt:lpstr>1_Default Theme</vt:lpstr>
      <vt:lpstr>9_Custom Design</vt:lpstr>
      <vt:lpstr>10_AmericasCharities_PPT_TEMPLATE_160511</vt:lpstr>
      <vt:lpstr>21_AmericasCharities_PPT_TEMPLATE_160511</vt:lpstr>
      <vt:lpstr>White</vt:lpstr>
      <vt:lpstr>1_White</vt:lpstr>
      <vt:lpstr>Image</vt:lpstr>
      <vt:lpstr>think-cell Slide</vt:lpstr>
      <vt:lpstr>Reimagining our Model to Improve Student Completion: The Guided Pathways Approach  </vt:lpstr>
      <vt:lpstr>Acknowledgements</vt:lpstr>
      <vt:lpstr>Building Urgency and  the Case for Change</vt:lpstr>
      <vt:lpstr>PowerPoint Presentation</vt:lpstr>
      <vt:lpstr>GENERAL EDUCATION REQUIREMENTS (Select 12 courses from this list of more than 300)</vt:lpstr>
      <vt:lpstr> New Students Want to Know</vt:lpstr>
      <vt:lpstr> Returning Students Ask</vt:lpstr>
      <vt:lpstr>A National Movement</vt:lpstr>
      <vt:lpstr>Defining the Pathways Model</vt:lpstr>
      <vt:lpstr>What Is the “Pathways Model?”</vt:lpstr>
      <vt:lpstr>PowerPoint Presentation</vt:lpstr>
      <vt:lpstr>Four Essential Practices of Pathways</vt:lpstr>
      <vt:lpstr>Clarify Paths to Student End Goals: What Does It Look Like?</vt:lpstr>
      <vt:lpstr>Help Students Get on a Pathway: What Does It Look Like?</vt:lpstr>
      <vt:lpstr>Help Students Stay On Path: What Does It Look Like?</vt:lpstr>
      <vt:lpstr>Ensure That Students Are Learning: What Does It Look Like?</vt:lpstr>
      <vt:lpstr>Six Success Factors </vt:lpstr>
      <vt:lpstr>Six Success Factors </vt:lpstr>
      <vt:lpstr>Six Success Factors (cont.)</vt:lpstr>
      <vt:lpstr>Crosswalk: Success Factors and  Guided Pathways</vt:lpstr>
      <vt:lpstr>Early Outcomes Data on Guided Pathways Reform</vt:lpstr>
      <vt:lpstr>PowerPoint Presentation</vt:lpstr>
      <vt:lpstr>PowerPoint Presentation</vt:lpstr>
      <vt:lpstr>Demystifying Guided Pathways:  Exploring Ten Commonly Asked Questions about Implementing Pathways  </vt:lpstr>
      <vt:lpstr>Demystifying Guided Pathways Paper By Rob Johnstone</vt:lpstr>
      <vt:lpstr>Top 10 FAQs –  Redesigning for Completion</vt:lpstr>
      <vt:lpstr>Top 10 FAQs –  Redesigning for Completion</vt:lpstr>
      <vt:lpstr>Top 10 FAQs –  Redesigning for Completion</vt:lpstr>
      <vt:lpstr>Top 10 FAQs –  Redesigning for Completion</vt:lpstr>
      <vt:lpstr>Top 10 FAQs –  Redesigning for Completion</vt:lpstr>
      <vt:lpstr>Top 10 FAQs –  Redesigning for Completion</vt:lpstr>
      <vt:lpstr>Top 10 FAQs –  Redesigning for Completion</vt:lpstr>
      <vt:lpstr>Top 10 FAQs –  Redesigning for Completion</vt:lpstr>
      <vt:lpstr>Top 10 FAQs –  Redesigning for Completion</vt:lpstr>
      <vt:lpstr>Example of College Redesigning for Completion</vt:lpstr>
      <vt:lpstr>PowerPoint Presentation</vt:lpstr>
      <vt:lpstr>The AACC and CA Pathways Initiatives</vt:lpstr>
      <vt:lpstr>AACC Pathways Project</vt:lpstr>
      <vt:lpstr>CA Guided Pathways Project</vt:lpstr>
      <vt:lpstr>Final Thoughts</vt:lpstr>
      <vt:lpstr>So What Does All This Mean?</vt:lpstr>
      <vt:lpstr>Questions to Think About</vt:lpstr>
      <vt:lpstr>Conclusion</vt:lpstr>
      <vt:lpstr>References</vt:lpstr>
      <vt:lpstr>Q &amp; A</vt:lpstr>
      <vt:lpstr>Thank You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dcooper</cp:lastModifiedBy>
  <cp:revision>612</cp:revision>
  <cp:lastPrinted>2017-02-01T18:58:17Z</cp:lastPrinted>
  <dcterms:created xsi:type="dcterms:W3CDTF">2013-06-11T18:27:20Z</dcterms:created>
  <dcterms:modified xsi:type="dcterms:W3CDTF">2017-03-10T01:56:45Z</dcterms:modified>
</cp:coreProperties>
</file>